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thumbnail.jpeg" Type="http://schemas.openxmlformats.org/package/2006/relationships/metadata/thumbnail"/></Relationships>
</file>

<file path=ppt/presentation.xml><?xml version="1.0" encoding="utf-8"?>
<p:presentation xmlns:r="http://schemas.openxmlformats.org/officeDocument/2006/relationships" xmlns:a="http://schemas.openxmlformats.org/drawingml/2006/main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3"/>
  </p:notesMasterIdLst>
  <p:sldIdLst>
    <p:sldId id="260" r:id="rId4"/>
    <p:sldId id="261" r:id="rId5"/>
    <p:sldId id="257" r:id="rId6"/>
    <p:sldId id="259" r:id="rId7"/>
    <p:sldId id="262" r:id="rId8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</p:extLst>
</p:presentation>
</file>

<file path=ppt/presProps.xml><?xml version="1.0" encoding="utf-8"?>
<p:presentationPr xmlns:r="http://schemas.openxmlformats.org/officeDocument/2006/relationships" xmlns:a="http://schemas.openxmlformats.org/drawingml/2006/main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54" autoAdjust="0"/>
    <p:restoredTop sz="80220" autoAdjust="0"/>
  </p:normalViewPr>
  <p:slideViewPr>
    <p:cSldViewPr snapToGrid="0" snapToObjects="1" showGuides="1">
      <p:cViewPr varScale="1">
        <p:scale>
          <a:sx n="88" d="100"/>
          <a:sy n="88" d="100"/>
        </p:scale>
        <p:origin x="1332" y="96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" d="100"/>
          <a:sy n="1" d="100"/>
        </p:scale>
        <p:origin x="0" y="0"/>
      </p:cViewPr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presProps.xml" Type="http://schemas.openxmlformats.org/officeDocument/2006/relationships/presProps"/><Relationship Id="rId11" Target="viewProps.xml" Type="http://schemas.openxmlformats.org/officeDocument/2006/relationships/viewProps"/><Relationship Id="rId12" Target="theme/theme1.xml" Type="http://schemas.openxmlformats.org/officeDocument/2006/relationships/theme"/><Relationship Id="rId13" Target="tableStyles.xml" Type="http://schemas.openxmlformats.org/officeDocument/2006/relationships/tableStyles"/><Relationship Id="rId2" Target="slideMasters/slideMaster2.xml" Type="http://schemas.openxmlformats.org/officeDocument/2006/relationships/slideMaster"/><Relationship Id="rId3" Target="notesMasters/notesMaster1.xml" Type="http://schemas.openxmlformats.org/officeDocument/2006/relationships/notesMaster"/><Relationship Id="rId4" Target="slides/slide1.xml" Type="http://schemas.openxmlformats.org/officeDocument/2006/relationships/slide"/><Relationship Id="rId5" Target="slides/slide2.xml" Type="http://schemas.openxmlformats.org/officeDocument/2006/relationships/slide"/><Relationship Id="rId6" Target="slides/slide3.xml" Type="http://schemas.openxmlformats.org/officeDocument/2006/relationships/slide"/><Relationship Id="rId7" Target="slides/slide4.xml" Type="http://schemas.openxmlformats.org/officeDocument/2006/relationships/slide"/><Relationship Id="rId8" Target="slides/slide5.xml" Type="http://schemas.openxmlformats.org/officeDocument/2006/relationships/slide"/><Relationship Id="rId9" Target="tags/tag1.xml" Type="http://schemas.openxmlformats.org/officeDocument/2006/relationships/tags"/></Relationships>
</file>

<file path=ppt/notesMasters/_rels/notes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noProof="1">
                <a:latin typeface="Arial"/>
                <a:cs typeface="Arial"/>
              </a:defRPr>
            </a:lvl1pPr>
          </a:lstStyle>
          <a:p>
            <a:pPr>
              <a:defRPr/>
            </a:pPr>
            <a:endParaRPr lang="zh-CN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noProof="1">
                <a:latin typeface="Arial"/>
                <a:cs typeface="Arial"/>
              </a:defRPr>
            </a:lvl1pPr>
          </a:lstStyle>
          <a:p>
            <a:pPr>
              <a:defRPr/>
            </a:pPr>
            <a:endParaRPr lang="zh-CN"/>
          </a:p>
        </p:txBody>
      </p:sp>
      <p:sp>
        <p:nvSpPr>
          <p:cNvPr id="14340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noProof="1">
                <a:latin typeface="Arial"/>
                <a:cs typeface="Arial"/>
              </a:defRPr>
            </a:lvl1pPr>
          </a:lstStyle>
          <a:p>
            <a:pPr>
              <a:defRPr/>
            </a:pPr>
            <a:endParaRPr lang="zh-CN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noProof="1" smtClean="0"/>
            </a:lvl1pPr>
          </a:lstStyle>
          <a:p>
            <a:pPr>
              <a:defRPr/>
            </a:pPr>
            <a:fld id="{8286858E-39A0-42D5-808A-6A07A61835ED}" type="slidenum">
              <a:rPr altLang="zh-CN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val="34422811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slides/slide1.xml" Type="http://schemas.openxmlformats.org/officeDocument/2006/relationships/slide"/><Relationship Id="rId2" Target="../notesMasters/notesMaster1.xml" Type="http://schemas.openxmlformats.org/officeDocument/2006/relationships/notesMaster"/></Relationships>
</file>

<file path=ppt/notesSlides/_rels/notesSlide2.xml.rels><?xml version="1.0" encoding="UTF-8" standalone="yes"?><Relationships xmlns="http://schemas.openxmlformats.org/package/2006/relationships"><Relationship Id="rId1" Target="../slides/slide2.xml" Type="http://schemas.openxmlformats.org/officeDocument/2006/relationships/slide"/><Relationship Id="rId2" Target="../notesMasters/notesMaster1.xml" Type="http://schemas.openxmlformats.org/officeDocument/2006/relationships/notesMaster"/></Relationships>
</file>

<file path=ppt/notesSlides/_rels/notesSlide3.xml.rels><?xml version="1.0" encoding="UTF-8" standalone="yes"?><Relationships xmlns="http://schemas.openxmlformats.org/package/2006/relationships"><Relationship Id="rId1" Target="../slides/slide3.xml" Type="http://schemas.openxmlformats.org/officeDocument/2006/relationships/slide"/><Relationship Id="rId2" Target="../notesMasters/notesMaster1.xml" Type="http://schemas.openxmlformats.org/officeDocument/2006/relationships/notesMaster"/></Relationships>
</file>

<file path=ppt/notesSlides/_rels/notesSlide4.xml.rels><?xml version="1.0" encoding="UTF-8" standalone="yes"?><Relationships xmlns="http://schemas.openxmlformats.org/package/2006/relationships"><Relationship Id="rId1" Target="../slides/slide4.xml" Type="http://schemas.openxmlformats.org/officeDocument/2006/relationships/slide"/><Relationship Id="rId2" Target="../notesMasters/notesMaster1.xml" Type="http://schemas.openxmlformats.org/officeDocument/2006/relationships/notesMaster"/></Relationships>
</file>

<file path=ppt/notesSlides/_rels/notesSlide5.xml.rels><?xml version="1.0" encoding="UTF-8" standalone="yes"?><Relationships xmlns="http://schemas.openxmlformats.org/package/2006/relationships"><Relationship Id="rId1" Target="../slides/slide5.xml" Type="http://schemas.openxmlformats.org/officeDocument/2006/relationships/slide"/><Relationship Id="rId2" Target="../notesMasters/notesMaster1.xml" Type="http://schemas.openxmlformats.org/officeDocument/2006/relationships/notesMaster"/></Relationships>
</file>

<file path=ppt/notesSlides/notesSlide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val="466407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val="4176744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val="483470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val="1989556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val="3338430352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13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4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5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6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7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8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19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0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1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2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23.xml.rels><?xml version="1.0" encoding="UTF-8" standalone="yes"?><Relationships xmlns="http://schemas.openxmlformats.org/package/2006/relationships"><Relationship Id="rId1" Target="../slideMasters/slideMaster2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1872666378"/>
      </p:ext>
    </p:extLst>
  </p:cSld>
  <p:clrMapOvr>
    <a:masterClrMapping/>
  </p:clrMapOvr>
  <p:transition/>
  <p:timing/>
</p:sldLayout>
</file>

<file path=ppt/slideLayouts/slideLayout1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1715291867"/>
      </p:ext>
    </p:extLst>
  </p:cSld>
  <p:clrMapOvr>
    <a:masterClrMapping/>
  </p:clrMapOvr>
  <p:transition/>
  <p:timing/>
</p:sldLayout>
</file>

<file path=ppt/slideLayouts/slideLayout1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3370934403"/>
      </p:ext>
    </p:extLst>
  </p:cSld>
  <p:clrMapOvr>
    <a:masterClrMapping/>
  </p:clrMapOvr>
  <p:transition/>
  <p:timing/>
</p:sldLayout>
</file>

<file path=ppt/slideLayouts/slideLayout1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0038" y="58738"/>
            <a:ext cx="8520112" cy="10001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295275" y="1489075"/>
            <a:ext cx="8524875" cy="4313238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835440067"/>
      </p:ext>
    </p:extLst>
  </p:cSld>
  <p:clrMapOvr>
    <a:masterClrMapping/>
  </p:clrMapOvr>
  <p:transition/>
  <p:timing/>
</p:sldLayout>
</file>

<file path=ppt/slideLayouts/slideLayout1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9B4D422-D5CB-48C5-96CD-63658B400111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469AC03-8435-40E6-9D34-B807F8A27F9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2852057423"/>
      </p:ext>
    </p:extLst>
  </p:cSld>
  <p:clrMapOvr>
    <a:masterClrMapping/>
  </p:clrMapOvr>
  <p:transition/>
  <p:timing/>
</p:sldLayout>
</file>

<file path=ppt/slideLayouts/slideLayout1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4171C14-6460-4956-B7E5-40AFEE3401CA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DC57B1E-3AE8-4D78-82B8-EBF54258F3E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579211798"/>
      </p:ext>
    </p:extLst>
  </p:cSld>
  <p:clrMapOvr>
    <a:masterClrMapping/>
  </p:clrMapOvr>
  <p:transition/>
  <p:timing/>
</p:sldLayout>
</file>

<file path=ppt/slideLayouts/slideLayout1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792C2E3-5C5A-4AF2-AC07-05A51488D043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2D11158-FDEA-462E-9F47-64138F1EBABD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414061489"/>
      </p:ext>
    </p:extLst>
  </p:cSld>
  <p:clrMapOvr>
    <a:masterClrMapping/>
  </p:clrMapOvr>
  <p:transition/>
  <p:timing/>
</p:sldLayout>
</file>

<file path=ppt/slideLayouts/slideLayout1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CAB61C7-8EE9-4331-A5DA-458C01DDB1B8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F6FDE9D-F3F8-4245-B8E8-EE8D6CE75169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764379064"/>
      </p:ext>
    </p:extLst>
  </p:cSld>
  <p:clrMapOvr>
    <a:masterClrMapping/>
  </p:clrMapOvr>
  <p:transition/>
  <p:timing/>
</p:sldLayout>
</file>

<file path=ppt/slideLayouts/slideLayout1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53E693C-E8D5-4B74-A63B-6565E8B13166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609A41-CCE3-4BB2-B5EF-712AECC17401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4058009655"/>
      </p:ext>
    </p:extLst>
  </p:cSld>
  <p:clrMapOvr>
    <a:masterClrMapping/>
  </p:clrMapOvr>
  <p:transition/>
  <p:timing/>
</p:sldLayout>
</file>

<file path=ppt/slideLayouts/slideLayout1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DBEB9B0-A38B-43BF-947D-7FA4F9D67D8F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AB210AE-9167-406B-9BEA-70F669E083BE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1344885025"/>
      </p:ext>
    </p:extLst>
  </p:cSld>
  <p:clrMapOvr>
    <a:masterClrMapping/>
  </p:clrMapOvr>
  <p:transition/>
  <p:timing/>
</p:sldLayout>
</file>

<file path=ppt/slideLayouts/slideLayout1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A847F4A-8F63-41F5-8A35-6966F0CCAE7B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F922FD2-A4AD-4D62-BBC0-3AB857E26D8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3430736645"/>
      </p:ext>
    </p:extLst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1987251414"/>
      </p:ext>
    </p:extLst>
  </p:cSld>
  <p:clrMapOvr>
    <a:masterClrMapping/>
  </p:clrMapOvr>
  <p:transition/>
  <p:timing/>
</p:sldLayout>
</file>

<file path=ppt/slideLayouts/slideLayout2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850F0F5-BF3A-4ED3-A61D-7A80A70E285E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211B0EE-3EF0-441F-A5AA-7FA72BA51EF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3543361509"/>
      </p:ext>
    </p:extLst>
  </p:cSld>
  <p:clrMapOvr>
    <a:masterClrMapping/>
  </p:clrMapOvr>
  <p:transition/>
  <p:timing/>
</p:sldLayout>
</file>

<file path=ppt/slideLayouts/slideLayout2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120A2D3-FA68-403E-A755-EAA0F741700C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6C16A3-BD24-4420-AEEE-EFFBB014605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1193442102"/>
      </p:ext>
    </p:extLst>
  </p:cSld>
  <p:clrMapOvr>
    <a:masterClrMapping/>
  </p:clrMapOvr>
  <p:transition/>
  <p:timing/>
</p:sldLayout>
</file>

<file path=ppt/slideLayouts/slideLayout2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655A69-5390-4C83-9FFA-8F320C891DD2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A08DBD7-A4EC-4B2A-A5C4-38D4A64E24E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2759752044"/>
      </p:ext>
    </p:extLst>
  </p:cSld>
  <p:clrMapOvr>
    <a:masterClrMapping/>
  </p:clrMapOvr>
  <p:transition/>
  <p:timing/>
</p:sldLayout>
</file>

<file path=ppt/slideLayouts/slideLayout2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itleAndTx" preserve="1">
  <p:cSld name="垂直排列标题与 文本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1722EA5-2340-49F5-9C30-6C54C4B45BB3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EE838DA-CEBE-4B41-B3E8-20C38BC875DA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val="2198192801"/>
      </p:ext>
    </p:extLst>
  </p:cSld>
  <p:clrMapOvr>
    <a:masterClrMapping/>
  </p:clrMapOvr>
  <p:transition/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446958536"/>
      </p:ext>
    </p:extLst>
  </p:cSld>
  <p:clrMapOvr>
    <a:masterClrMapping/>
  </p:clrMapOvr>
  <p:transition/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3823924800"/>
      </p:ext>
    </p:extLst>
  </p:cSld>
  <p:clrMapOvr>
    <a:masterClrMapping/>
  </p:clrMapOvr>
  <p:transition/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3383709041"/>
      </p:ext>
    </p:extLst>
  </p:cSld>
  <p:clrMapOvr>
    <a:masterClrMapping/>
  </p:clrMapOvr>
  <p:transition/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1782190767"/>
      </p:ext>
    </p:extLst>
  </p:cSld>
  <p:clrMapOvr>
    <a:masterClrMapping/>
  </p:clrMapOvr>
  <p:transition/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3351177912"/>
      </p:ext>
    </p:extLst>
  </p:cSld>
  <p:clrMapOvr>
    <a:masterClrMapping/>
  </p:clrMapOvr>
  <p:transition/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3116574317"/>
      </p:ext>
    </p:extLst>
  </p:cSld>
  <p:clrMapOvr>
    <a:masterClrMapping/>
  </p:clrMapOvr>
  <p:transition/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/>
          </a:p>
        </p:txBody>
      </p:sp>
    </p:spTree>
    <p:extLst>
      <p:ext uri="{BB962C8B-B14F-4D97-AF65-F5344CB8AC3E}">
        <p14:creationId val="1938822996"/>
      </p:ext>
    </p:extLst>
  </p:cSld>
  <p:clrMapOvr>
    <a:masterClrMapping/>
  </p:clrMapOvr>
  <p:transition/>
  <p:timing/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slideLayouts/slideLayout11.xml" Type="http://schemas.openxmlformats.org/officeDocument/2006/relationships/slideLayout"/><Relationship Id="rId12" Target="../slideLayouts/slideLayout12.xml" Type="http://schemas.openxmlformats.org/officeDocument/2006/relationships/slideLayout"/><Relationship Id="rId13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_rels/slideMaster2.xml.rels><?xml version="1.0" encoding="UTF-8" standalone="yes"?><Relationships xmlns="http://schemas.openxmlformats.org/package/2006/relationships"><Relationship Id="rId1" Target="../slideLayouts/slideLayout13.xml" Type="http://schemas.openxmlformats.org/officeDocument/2006/relationships/slideLayout"/><Relationship Id="rId10" Target="../slideLayouts/slideLayout22.xml" Type="http://schemas.openxmlformats.org/officeDocument/2006/relationships/slideLayout"/><Relationship Id="rId11" Target="../slideLayouts/slideLayout23.xml" Type="http://schemas.openxmlformats.org/officeDocument/2006/relationships/slideLayout"/><Relationship Id="rId12" Target="../theme/theme2.xml" Type="http://schemas.openxmlformats.org/officeDocument/2006/relationships/theme"/><Relationship Id="rId2" Target="../slideLayouts/slideLayout14.xml" Type="http://schemas.openxmlformats.org/officeDocument/2006/relationships/slideLayout"/><Relationship Id="rId3" Target="../slideLayouts/slideLayout15.xml" Type="http://schemas.openxmlformats.org/officeDocument/2006/relationships/slideLayout"/><Relationship Id="rId4" Target="../slideLayouts/slideLayout16.xml" Type="http://schemas.openxmlformats.org/officeDocument/2006/relationships/slideLayout"/><Relationship Id="rId5" Target="../slideLayouts/slideLayout17.xml" Type="http://schemas.openxmlformats.org/officeDocument/2006/relationships/slideLayout"/><Relationship Id="rId6" Target="../slideLayouts/slideLayout18.xml" Type="http://schemas.openxmlformats.org/officeDocument/2006/relationships/slideLayout"/><Relationship Id="rId7" Target="../slideLayouts/slideLayout19.xml" Type="http://schemas.openxmlformats.org/officeDocument/2006/relationships/slideLayout"/><Relationship Id="rId8" Target="../slideLayouts/slideLayout20.xml" Type="http://schemas.openxmlformats.org/officeDocument/2006/relationships/slideLayout"/><Relationship Id="rId9" Target="../slideLayouts/slideLayout21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noProof="1">
                <a:latin typeface="Arial"/>
                <a:cs typeface="Arial"/>
              </a:defRPr>
            </a:lvl1pPr>
          </a:lstStyle>
          <a:p>
            <a:pPr>
              <a:defRPr/>
            </a:pPr>
            <a:endParaRPr lang="zh-CN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CN" smtClean="0"/>
              <a:t>Klicken Sie, um das Titelformat zu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transition/>
  <p:timing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/>
          <a:cs typeface="Arial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en-US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ct val="0"/>
              </a:spcBef>
              <a:spcAft>
                <a:spcPct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fld id="{CD50FA98-5FD1-40EF-8818-0BF1DC1CBAC7}" type="datetimeFigureOut">
              <a:rPr lang="zh-CN" altLang="en-US"/>
              <a:pPr>
                <a:defRPr/>
              </a:pPr>
              <a:t>2018/5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ct val="0"/>
              </a:spcBef>
              <a:spcAft>
                <a:spcPct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fld id="{F25E388A-674D-49C0-B812-5C9B0D086FA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ransition/>
  <p:timing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6.xml" Type="http://schemas.openxmlformats.org/officeDocument/2006/relationships/slideLayout"/><Relationship Id="rId2" Target="../notesSlides/notesSlide1.xml" Type="http://schemas.openxmlformats.org/officeDocument/2006/relationships/notesSlide"/><Relationship Id="rId3" Target="../media/image1.jpeg" Type="http://schemas.openxmlformats.org/officeDocument/2006/relationships/image"/><Relationship Id="rId4" Target="../media/image2.jpe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slideLayouts/slideLayout6.xml" Type="http://schemas.openxmlformats.org/officeDocument/2006/relationships/slideLayout"/><Relationship Id="rId2" Target="../notesSlides/notesSlide2.xml" Type="http://schemas.openxmlformats.org/officeDocument/2006/relationships/notesSlide"/><Relationship Id="rId3" Target="../media/image3.jpeg" Type="http://schemas.openxmlformats.org/officeDocument/2006/relationships/image"/><Relationship Id="rId4" Target="../media/image4.jpeg" Type="http://schemas.openxmlformats.org/officeDocument/2006/relationships/image"/><Relationship Id="rId5" Target="../media/image5.jpeg" Type="http://schemas.openxmlformats.org/officeDocument/2006/relationships/image"/><Relationship Id="rId6" Target="../media/image6.jpeg" Type="http://schemas.openxmlformats.org/officeDocument/2006/relationships/image"/><Relationship Id="rId7" Target="../media/image7.jpeg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slideLayouts/slideLayout6.xml" Type="http://schemas.openxmlformats.org/officeDocument/2006/relationships/slideLayout"/><Relationship Id="rId2" Target="../notesSlides/notesSlide3.xml" Type="http://schemas.openxmlformats.org/officeDocument/2006/relationships/notesSlide"/><Relationship Id="rId3" Target="../media/image8.jpeg" Type="http://schemas.openxmlformats.org/officeDocument/2006/relationships/image"/><Relationship Id="rId4" Target="../media/image9.jpeg" Type="http://schemas.openxmlformats.org/officeDocument/2006/relationships/image"/><Relationship Id="rId5" Target="../media/image10.png" Type="http://schemas.openxmlformats.org/officeDocument/2006/relationships/image"/><Relationship Id="rId6" Target="../media/image11.png" Type="http://schemas.openxmlformats.org/officeDocument/2006/relationships/image"/></Relationships>
</file>

<file path=ppt/slides/_rels/slide4.xml.rels><?xml version="1.0" encoding="UTF-8" standalone="yes"?><Relationships xmlns="http://schemas.openxmlformats.org/package/2006/relationships"><Relationship Id="rId1" Target="../slideLayouts/slideLayout6.xml" Type="http://schemas.openxmlformats.org/officeDocument/2006/relationships/slideLayout"/><Relationship Id="rId2" Target="../notesSlides/notesSlide4.xml" Type="http://schemas.openxmlformats.org/officeDocument/2006/relationships/notesSlide"/><Relationship Id="rId3" Target="../media/image12.jpeg" Type="http://schemas.openxmlformats.org/officeDocument/2006/relationships/image"/><Relationship Id="rId4" Target="../media/image1.jpeg" Type="http://schemas.openxmlformats.org/officeDocument/2006/relationships/image"/></Relationships>
</file>

<file path=ppt/slides/_rels/slide5.xml.rels><?xml version="1.0" encoding="UTF-8" standalone="yes"?><Relationships xmlns="http://schemas.openxmlformats.org/package/2006/relationships"><Relationship Id="rId1" Target="../slideLayouts/slideLayout19.xml" Type="http://schemas.openxmlformats.org/officeDocument/2006/relationships/slideLayout"/><Relationship Id="rId2" Target="../notesSlides/notesSlide5.xml" Type="http://schemas.openxmlformats.org/officeDocument/2006/relationships/notesSlide"/></Relationships>
</file>

<file path=ppt/slides/slide1.xml><?xml version="1.0" encoding="utf-8"?>
<p:sld xmlns:a="http://schemas.openxmlformats.org/drawingml/2006/main" xmlns:a14="http://schemas.microsoft.com/office/drawing/2010/main" xmlns:m="http://schemas.openxmlformats.org/officeDocument/2006/math" xmlns:mc="http://schemas.openxmlformats.org/markup-compatibility/2006" xmlns:p="http://schemas.openxmlformats.org/presentationml/2006/main" xmlns:p14="http://schemas.microsoft.com/office/powerpoint/2010/main" xmlns:p15="http://schemas.microsoft.com/office/powerpoint/2012/main" xmlns:p159="http://schemas.microsoft.com/office/powerpoint/2015/09/main" xmlns:r="http://schemas.openxmlformats.org/officeDocument/2006/relationships" xmlns:w="http://schemas.openxmlformats.org/wordprocessingml/2006/main" xmlns:wp="http://schemas.openxmlformats.org/drawingml/2006/wordprocessingDrawing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pSp>
        <p:nvGrpSpPr>
          <p:cNvPr id="15362" name="Group 169"/>
          <p:cNvGrpSpPr/>
          <p:nvPr/>
        </p:nvGrpSpPr>
        <p:grpSpPr>
          <a:xfrm flipH="1">
            <a:off x="1181100" y="1638300"/>
            <a:ext cx="207963" cy="1543050"/>
            <a:chOff x="4793" y="652"/>
            <a:chExt cx="330" cy="2454"/>
          </a:xfrm>
        </p:grpSpPr>
        <p:sp>
          <p:nvSpPr>
            <p:cNvPr id="15409" name="Freeform 170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410" name="Freeform 171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411" name="Freeform 172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63" name="Group 173"/>
          <p:cNvGrpSpPr/>
          <p:nvPr/>
        </p:nvGrpSpPr>
        <p:grpSpPr>
          <a:xfrm>
            <a:off x="3814763" y="1630363"/>
            <a:ext cx="209550" cy="1543050"/>
            <a:chOff x="4793" y="652"/>
            <a:chExt cx="330" cy="2454"/>
          </a:xfrm>
        </p:grpSpPr>
        <p:sp>
          <p:nvSpPr>
            <p:cNvPr id="198830" name="Freeform 174"/>
            <p:cNvSpPr/>
            <p:nvPr/>
          </p:nvSpPr>
          <p:spPr bwMode="auto">
            <a:xfrm>
              <a:off x="4828" y="665"/>
              <a:ext cx="177" cy="2441"/>
            </a:xfrm>
            <a:custGeom>
              <a:cxnLst>
                <a:cxn ang="0">
                  <a:pos x="38" y="999"/>
                </a:cxn>
                <a:cxn ang="0">
                  <a:pos x="0" y="1023"/>
                </a:cxn>
                <a:cxn ang="0">
                  <a:pos x="13" y="706"/>
                </a:cxn>
                <a:cxn ang="0">
                  <a:pos x="32" y="358"/>
                </a:cxn>
                <a:cxn ang="0">
                  <a:pos x="47" y="8"/>
                </a:cxn>
                <a:cxn ang="0">
                  <a:pos x="69" y="0"/>
                </a:cxn>
                <a:cxn ang="0">
                  <a:pos x="38" y="999"/>
                </a:cxn>
              </a:cxnLst>
              <a:rect b="b" l="0" r="r" t="0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31" name="Freeform 175"/>
            <p:cNvSpPr/>
            <p:nvPr/>
          </p:nvSpPr>
          <p:spPr bwMode="auto">
            <a:xfrm>
              <a:off x="4818" y="652"/>
              <a:ext cx="305" cy="2449"/>
            </a:xfrm>
            <a:custGeom>
              <a:cxnLst>
                <a:cxn ang="0">
                  <a:pos x="113" y="10"/>
                </a:cxn>
                <a:cxn ang="0">
                  <a:pos x="65" y="8"/>
                </a:cxn>
                <a:cxn ang="0">
                  <a:pos x="55" y="35"/>
                </a:cxn>
                <a:cxn ang="0">
                  <a:pos x="47" y="496"/>
                </a:cxn>
                <a:cxn ang="0">
                  <a:pos x="36" y="720"/>
                </a:cxn>
                <a:cxn ang="0">
                  <a:pos x="27" y="780"/>
                </a:cxn>
                <a:cxn ang="0">
                  <a:pos x="33" y="838"/>
                </a:cxn>
                <a:cxn ang="0">
                  <a:pos x="27" y="977"/>
                </a:cxn>
                <a:cxn ang="0">
                  <a:pos x="5" y="1033"/>
                </a:cxn>
                <a:cxn ang="0">
                  <a:pos x="65" y="1037"/>
                </a:cxn>
                <a:cxn ang="0">
                  <a:pos x="113" y="10"/>
                </a:cxn>
              </a:cxnLst>
              <a:rect b="b" l="0" r="r" t="0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5408" name="Freeform 176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64" name="Group 188"/>
          <p:cNvGrpSpPr/>
          <p:nvPr/>
        </p:nvGrpSpPr>
        <p:grpSpPr>
          <a:xfrm flipH="1">
            <a:off x="5148263" y="1644650"/>
            <a:ext cx="207962" cy="1543050"/>
            <a:chOff x="4793" y="652"/>
            <a:chExt cx="330" cy="2454"/>
          </a:xfrm>
        </p:grpSpPr>
        <p:sp>
          <p:nvSpPr>
            <p:cNvPr id="15403" name="Freeform 189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404" name="Freeform 190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405" name="Freeform 191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65" name="Group 192"/>
          <p:cNvGrpSpPr/>
          <p:nvPr/>
        </p:nvGrpSpPr>
        <p:grpSpPr>
          <a:xfrm>
            <a:off x="7781925" y="1636713"/>
            <a:ext cx="209550" cy="1543050"/>
            <a:chOff x="4793" y="652"/>
            <a:chExt cx="330" cy="2454"/>
          </a:xfrm>
        </p:grpSpPr>
        <p:sp>
          <p:nvSpPr>
            <p:cNvPr id="198849" name="Freeform 193"/>
            <p:cNvSpPr/>
            <p:nvPr/>
          </p:nvSpPr>
          <p:spPr bwMode="auto">
            <a:xfrm>
              <a:off x="4828" y="665"/>
              <a:ext cx="178" cy="2441"/>
            </a:xfrm>
            <a:custGeom>
              <a:cxnLst>
                <a:cxn ang="0">
                  <a:pos x="38" y="999"/>
                </a:cxn>
                <a:cxn ang="0">
                  <a:pos x="0" y="1023"/>
                </a:cxn>
                <a:cxn ang="0">
                  <a:pos x="13" y="706"/>
                </a:cxn>
                <a:cxn ang="0">
                  <a:pos x="32" y="358"/>
                </a:cxn>
                <a:cxn ang="0">
                  <a:pos x="47" y="8"/>
                </a:cxn>
                <a:cxn ang="0">
                  <a:pos x="69" y="0"/>
                </a:cxn>
                <a:cxn ang="0">
                  <a:pos x="38" y="999"/>
                </a:cxn>
              </a:cxnLst>
              <a:rect b="b" l="0" r="r" t="0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50" name="Freeform 194"/>
            <p:cNvSpPr/>
            <p:nvPr/>
          </p:nvSpPr>
          <p:spPr bwMode="auto">
            <a:xfrm>
              <a:off x="4818" y="652"/>
              <a:ext cx="305" cy="2449"/>
            </a:xfrm>
            <a:custGeom>
              <a:cxnLst>
                <a:cxn ang="0">
                  <a:pos x="113" y="10"/>
                </a:cxn>
                <a:cxn ang="0">
                  <a:pos x="65" y="8"/>
                </a:cxn>
                <a:cxn ang="0">
                  <a:pos x="55" y="35"/>
                </a:cxn>
                <a:cxn ang="0">
                  <a:pos x="47" y="496"/>
                </a:cxn>
                <a:cxn ang="0">
                  <a:pos x="36" y="720"/>
                </a:cxn>
                <a:cxn ang="0">
                  <a:pos x="27" y="780"/>
                </a:cxn>
                <a:cxn ang="0">
                  <a:pos x="33" y="838"/>
                </a:cxn>
                <a:cxn ang="0">
                  <a:pos x="27" y="977"/>
                </a:cxn>
                <a:cxn ang="0">
                  <a:pos x="5" y="1033"/>
                </a:cxn>
                <a:cxn ang="0">
                  <a:pos x="65" y="1037"/>
                </a:cxn>
                <a:cxn ang="0">
                  <a:pos x="113" y="10"/>
                </a:cxn>
              </a:cxnLst>
              <a:rect b="b" l="0" r="r" t="0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5402" name="Freeform 195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sp>
        <p:nvSpPr>
          <p:cNvPr id="15366" name="Line 16"/>
          <p:cNvSpPr>
            <a:spLocks noChangeShapeType="1"/>
          </p:cNvSpPr>
          <p:nvPr/>
        </p:nvSpPr>
        <p:spPr bwMode="auto">
          <a:xfrm>
            <a:off x="0" y="2770188"/>
            <a:ext cx="9144000" cy="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</a:ln>
          <a:extLst>
            <a:ext uri="{909E8E84-426E-40DD-AFC4-6F175D3DCCD1}">
              <a14:hiddenFill>
                <a:noFill/>
              </a14:hiddenFill>
            </a:ext>
          </a:extLst>
        </p:spPr>
        <p:txBody>
          <a:bodyPr/>
          <a:lstStyle/>
          <a:p>
            <a:endParaRPr altLang="en-US" lang="zh-CN"/>
          </a:p>
        </p:txBody>
      </p:sp>
      <p:grpSp>
        <p:nvGrpSpPr>
          <p:cNvPr id="15367" name="Group 210"/>
          <p:cNvGrpSpPr/>
          <p:nvPr/>
        </p:nvGrpSpPr>
        <p:grpSpPr>
          <a:xfrm>
            <a:off x="971550" y="2603500"/>
            <a:ext cx="3314700" cy="2978150"/>
            <a:chOff x="612" y="1640"/>
            <a:chExt cx="2088" cy="1876"/>
          </a:xfrm>
        </p:grpSpPr>
        <p:sp>
          <p:nvSpPr>
            <p:cNvPr id="15395" name="Rectangle 10"/>
            <p:cNvSpPr>
              <a:spLocks noChangeArrowheads="1"/>
            </p:cNvSpPr>
            <p:nvPr/>
          </p:nvSpPr>
          <p:spPr bwMode="gray">
            <a:xfrm rot="-128215">
              <a:off x="612" y="1640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8665" name="Text Box 9"/>
            <p:cNvSpPr txBox="1">
              <a:spLocks noChangeArrowheads="1"/>
            </p:cNvSpPr>
            <p:nvPr/>
          </p:nvSpPr>
          <p:spPr bwMode="auto">
            <a:xfrm rot="-128215">
              <a:off x="679" y="1698"/>
              <a:ext cx="1944" cy="1444"/>
            </a:xfrm>
            <a:prstGeom prst="rect">
              <a:avLst/>
            </a:prstGeom>
            <a:blipFill dpi="0" rotWithShape="1">
              <a:blip r:embed="rId3"/>
              <a:stretch>
                <a:fillRect r="-30884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5399" name="Rectangle 9"/>
            <p:cNvSpPr>
              <a:spLocks noChangeArrowheads="1"/>
            </p:cNvSpPr>
            <p:nvPr/>
          </p:nvSpPr>
          <p:spPr bwMode="gray">
            <a:xfrm rot="-128215">
              <a:off x="712" y="3202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600">
                  <a:ea charset="-122" panose="02010600030101010101" pitchFamily="2" typeface="宋体"/>
                </a:rPr>
                <a:t>This text can be </a:t>
              </a:r>
              <a:br>
                <a:rPr altLang="zh-CN" lang="en-US" sz="1600">
                  <a:ea charset="-122" panose="02010600030101010101" pitchFamily="2" typeface="宋体"/>
                </a:rPr>
              </a:br>
              <a:r>
                <a:rPr altLang="zh-CN" lang="en-US" sz="16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5368" name="Group 209"/>
          <p:cNvGrpSpPr/>
          <p:nvPr/>
        </p:nvGrpSpPr>
        <p:grpSpPr>
          <a:xfrm>
            <a:off x="4933950" y="2603500"/>
            <a:ext cx="3314700" cy="2978150"/>
            <a:chOff x="3108" y="1640"/>
            <a:chExt cx="2088" cy="1876"/>
          </a:xfrm>
        </p:grpSpPr>
        <p:sp>
          <p:nvSpPr>
            <p:cNvPr id="15390" name="Rectangle 10"/>
            <p:cNvSpPr>
              <a:spLocks noChangeArrowheads="1"/>
            </p:cNvSpPr>
            <p:nvPr/>
          </p:nvSpPr>
          <p:spPr bwMode="gray">
            <a:xfrm rot="205214">
              <a:off x="3108" y="1640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8712" name="Text Box 56"/>
            <p:cNvSpPr txBox="1">
              <a:spLocks noChangeArrowheads="1"/>
            </p:cNvSpPr>
            <p:nvPr/>
          </p:nvSpPr>
          <p:spPr bwMode="auto">
            <a:xfrm rot="205214">
              <a:off x="3190" y="1698"/>
              <a:ext cx="1944" cy="1444"/>
            </a:xfrm>
            <a:prstGeom prst="rect">
              <a:avLst/>
            </a:prstGeom>
            <a:blipFill dpi="0" rotWithShape="1">
              <a:blip r:embed="rId4"/>
              <a:stretch>
                <a:fillRect b="-970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5394" name="Rectangle 9"/>
            <p:cNvSpPr>
              <a:spLocks noChangeArrowheads="1"/>
            </p:cNvSpPr>
            <p:nvPr/>
          </p:nvSpPr>
          <p:spPr bwMode="gray">
            <a:xfrm rot="205214">
              <a:off x="3136" y="3201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600">
                  <a:ea charset="-122" panose="02010600030101010101" pitchFamily="2" typeface="宋体"/>
                </a:rPr>
                <a:t>This text can be </a:t>
              </a:r>
              <a:br>
                <a:rPr altLang="zh-CN" lang="en-US" sz="1600">
                  <a:ea charset="-122" panose="02010600030101010101" pitchFamily="2" typeface="宋体"/>
                </a:rPr>
              </a:br>
              <a:r>
                <a:rPr altLang="zh-CN" lang="en-US" sz="16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5369" name="Group 177"/>
          <p:cNvGrpSpPr/>
          <p:nvPr/>
        </p:nvGrpSpPr>
        <p:grpSpPr>
          <a:xfrm flipH="1">
            <a:off x="1035050" y="1625600"/>
            <a:ext cx="300038" cy="1562100"/>
            <a:chOff x="4878" y="631"/>
            <a:chExt cx="479" cy="2487"/>
          </a:xfrm>
        </p:grpSpPr>
        <p:sp>
          <p:nvSpPr>
            <p:cNvPr id="15386" name="Freeform 178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87" name="Freeform 179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88" name="Freeform 180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89" name="Freeform 181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70" name="Group 182"/>
          <p:cNvGrpSpPr/>
          <p:nvPr/>
        </p:nvGrpSpPr>
        <p:grpSpPr>
          <a:xfrm>
            <a:off x="3868738" y="1619250"/>
            <a:ext cx="301625" cy="1562100"/>
            <a:chOff x="4878" y="631"/>
            <a:chExt cx="479" cy="2487"/>
          </a:xfrm>
        </p:grpSpPr>
        <p:sp>
          <p:nvSpPr>
            <p:cNvPr id="198839" name="Freeform 183"/>
            <p:cNvSpPr/>
            <p:nvPr/>
          </p:nvSpPr>
          <p:spPr bwMode="auto">
            <a:xfrm>
              <a:off x="4878" y="631"/>
              <a:ext cx="194" cy="2477"/>
            </a:xfrm>
            <a:custGeom>
              <a:cxnLst>
                <a:cxn ang="0">
                  <a:pos x="68" y="30"/>
                </a:cxn>
                <a:cxn ang="0">
                  <a:pos x="34" y="354"/>
                </a:cxn>
                <a:cxn ang="0">
                  <a:pos x="22" y="449"/>
                </a:cxn>
                <a:cxn ang="0">
                  <a:pos x="22" y="528"/>
                </a:cxn>
                <a:cxn ang="0">
                  <a:pos x="18" y="562"/>
                </a:cxn>
                <a:cxn ang="0">
                  <a:pos x="11" y="729"/>
                </a:cxn>
                <a:cxn ang="0">
                  <a:pos x="11" y="830"/>
                </a:cxn>
                <a:cxn ang="0">
                  <a:pos x="4" y="995"/>
                </a:cxn>
                <a:cxn ang="0">
                  <a:pos x="35" y="1042"/>
                </a:cxn>
                <a:cxn ang="0">
                  <a:pos x="76" y="10"/>
                </a:cxn>
                <a:cxn ang="0">
                  <a:pos x="68" y="30"/>
                </a:cxn>
              </a:cxnLst>
              <a:rect b="b" l="0" r="r" t="0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40" name="Freeform 184"/>
            <p:cNvSpPr/>
            <p:nvPr/>
          </p:nvSpPr>
          <p:spPr bwMode="auto">
            <a:xfrm>
              <a:off x="4926" y="631"/>
              <a:ext cx="431" cy="2487"/>
            </a:xfrm>
            <a:custGeom>
              <a:cxnLst>
                <a:cxn ang="0">
                  <a:pos x="20" y="1046"/>
                </a:cxn>
                <a:cxn ang="0">
                  <a:pos x="2" y="1016"/>
                </a:cxn>
                <a:cxn ang="0">
                  <a:pos x="48" y="30"/>
                </a:cxn>
                <a:cxn ang="0">
                  <a:pos x="79" y="4"/>
                </a:cxn>
                <a:cxn ang="0">
                  <a:pos x="165" y="10"/>
                </a:cxn>
                <a:cxn ang="0">
                  <a:pos x="183" y="30"/>
                </a:cxn>
                <a:cxn ang="0">
                  <a:pos x="132" y="1032"/>
                </a:cxn>
                <a:cxn ang="0">
                  <a:pos x="115" y="1053"/>
                </a:cxn>
                <a:cxn ang="0">
                  <a:pos x="20" y="1046"/>
                </a:cxn>
              </a:cxnLst>
              <a:rect b="b" l="0" r="r" t="0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2745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41" name="Freeform 185"/>
            <p:cNvSpPr/>
            <p:nvPr/>
          </p:nvSpPr>
          <p:spPr bwMode="auto">
            <a:xfrm>
              <a:off x="4971" y="2031"/>
              <a:ext cx="318" cy="96"/>
            </a:xfrm>
            <a:custGeom>
              <a:cxnLst>
                <a:cxn ang="0">
                  <a:pos x="30" y="4"/>
                </a:cxn>
                <a:cxn ang="0">
                  <a:pos x="0" y="17"/>
                </a:cxn>
                <a:cxn ang="0">
                  <a:pos x="30" y="38"/>
                </a:cxn>
                <a:cxn ang="0">
                  <a:pos x="110" y="39"/>
                </a:cxn>
                <a:cxn ang="0">
                  <a:pos x="134" y="26"/>
                </a:cxn>
                <a:cxn ang="0">
                  <a:pos x="112" y="9"/>
                </a:cxn>
                <a:cxn ang="0">
                  <a:pos x="30" y="4"/>
                </a:cxn>
              </a:cxnLst>
              <a:rect b="b" l="0" r="r" t="0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5000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5385" name="Freeform 186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71" name="Group 196"/>
          <p:cNvGrpSpPr/>
          <p:nvPr/>
        </p:nvGrpSpPr>
        <p:grpSpPr>
          <a:xfrm flipH="1">
            <a:off x="5002213" y="1631950"/>
            <a:ext cx="300037" cy="1562100"/>
            <a:chOff x="4878" y="631"/>
            <a:chExt cx="479" cy="2487"/>
          </a:xfrm>
        </p:grpSpPr>
        <p:sp>
          <p:nvSpPr>
            <p:cNvPr id="15378" name="Freeform 197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79" name="Freeform 198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80" name="Freeform 199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5381" name="Freeform 200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5372" name="Group 201"/>
          <p:cNvGrpSpPr/>
          <p:nvPr/>
        </p:nvGrpSpPr>
        <p:grpSpPr>
          <a:xfrm>
            <a:off x="7835900" y="1625600"/>
            <a:ext cx="301625" cy="1562100"/>
            <a:chOff x="4878" y="631"/>
            <a:chExt cx="479" cy="2487"/>
          </a:xfrm>
        </p:grpSpPr>
        <p:sp>
          <p:nvSpPr>
            <p:cNvPr id="198858" name="Freeform 202"/>
            <p:cNvSpPr/>
            <p:nvPr/>
          </p:nvSpPr>
          <p:spPr bwMode="auto">
            <a:xfrm>
              <a:off x="4878" y="631"/>
              <a:ext cx="194" cy="2477"/>
            </a:xfrm>
            <a:custGeom>
              <a:cxnLst>
                <a:cxn ang="0">
                  <a:pos x="68" y="30"/>
                </a:cxn>
                <a:cxn ang="0">
                  <a:pos x="34" y="354"/>
                </a:cxn>
                <a:cxn ang="0">
                  <a:pos x="22" y="449"/>
                </a:cxn>
                <a:cxn ang="0">
                  <a:pos x="22" y="528"/>
                </a:cxn>
                <a:cxn ang="0">
                  <a:pos x="18" y="562"/>
                </a:cxn>
                <a:cxn ang="0">
                  <a:pos x="11" y="729"/>
                </a:cxn>
                <a:cxn ang="0">
                  <a:pos x="11" y="830"/>
                </a:cxn>
                <a:cxn ang="0">
                  <a:pos x="4" y="995"/>
                </a:cxn>
                <a:cxn ang="0">
                  <a:pos x="35" y="1042"/>
                </a:cxn>
                <a:cxn ang="0">
                  <a:pos x="76" y="10"/>
                </a:cxn>
                <a:cxn ang="0">
                  <a:pos x="68" y="30"/>
                </a:cxn>
              </a:cxnLst>
              <a:rect b="b" l="0" r="r" t="0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59" name="Freeform 203"/>
            <p:cNvSpPr/>
            <p:nvPr/>
          </p:nvSpPr>
          <p:spPr bwMode="auto">
            <a:xfrm>
              <a:off x="4926" y="631"/>
              <a:ext cx="431" cy="2487"/>
            </a:xfrm>
            <a:custGeom>
              <a:cxnLst>
                <a:cxn ang="0">
                  <a:pos x="20" y="1046"/>
                </a:cxn>
                <a:cxn ang="0">
                  <a:pos x="2" y="1016"/>
                </a:cxn>
                <a:cxn ang="0">
                  <a:pos x="48" y="30"/>
                </a:cxn>
                <a:cxn ang="0">
                  <a:pos x="79" y="4"/>
                </a:cxn>
                <a:cxn ang="0">
                  <a:pos x="165" y="10"/>
                </a:cxn>
                <a:cxn ang="0">
                  <a:pos x="183" y="30"/>
                </a:cxn>
                <a:cxn ang="0">
                  <a:pos x="132" y="1032"/>
                </a:cxn>
                <a:cxn ang="0">
                  <a:pos x="115" y="1053"/>
                </a:cxn>
                <a:cxn ang="0">
                  <a:pos x="20" y="1046"/>
                </a:cxn>
              </a:cxnLst>
              <a:rect b="b" l="0" r="r" t="0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2745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98860" name="Freeform 204"/>
            <p:cNvSpPr/>
            <p:nvPr/>
          </p:nvSpPr>
          <p:spPr bwMode="auto">
            <a:xfrm>
              <a:off x="4971" y="2031"/>
              <a:ext cx="318" cy="96"/>
            </a:xfrm>
            <a:custGeom>
              <a:cxnLst>
                <a:cxn ang="0">
                  <a:pos x="30" y="4"/>
                </a:cxn>
                <a:cxn ang="0">
                  <a:pos x="0" y="17"/>
                </a:cxn>
                <a:cxn ang="0">
                  <a:pos x="30" y="38"/>
                </a:cxn>
                <a:cxn ang="0">
                  <a:pos x="110" y="39"/>
                </a:cxn>
                <a:cxn ang="0">
                  <a:pos x="134" y="26"/>
                </a:cxn>
                <a:cxn ang="0">
                  <a:pos x="112" y="9"/>
                </a:cxn>
                <a:cxn ang="0">
                  <a:pos x="30" y="4"/>
                </a:cxn>
              </a:cxnLst>
              <a:rect b="b" l="0" r="r" t="0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5000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charset="-122" panose="020b0503020204020204" pitchFamily="34" typeface="微软雅黑"/>
                <a:cs typeface="Arial"/>
              </a:endParaRPr>
            </a:p>
          </p:txBody>
        </p:sp>
        <p:sp>
          <p:nvSpPr>
            <p:cNvPr id="15377" name="Freeform 205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sp>
        <p:nvSpPr>
          <p:cNvPr id="15373" name="Textfeld 7"/>
          <p:cNvSpPr>
            <a:spLocks noChangeArrowheads="1"/>
          </p:cNvSpPr>
          <p:nvPr>
            <p:ph type="title"/>
          </p:nvPr>
        </p:nvSpPr>
        <p:spPr bwMode="auto"/>
        <p:txBody>
          <a:bodyPr/>
          <a:lstStyle/>
          <a:p>
            <a:pPr eaLnBrk="1" hangingPunct="1">
              <a:lnSpc>
                <a:spcPct val="100000"/>
              </a:lnSpc>
            </a:pPr>
            <a:endParaRPr altLang="zh-CN" b="0" lang="de-DE" smtClean="0" sz="2400">
              <a:solidFill>
                <a:srgbClr val="595959"/>
              </a:solidFill>
              <a:ea charset="-122" panose="02010600030101010101" pitchFamily="2" typeface="宋体"/>
            </a:endParaRPr>
          </a:p>
        </p:txBody>
      </p:sp>
    </p:spTree>
  </p:cSld>
  <p:clrMapOvr>
    <a:masterClrMapping/>
  </p:clrMapOvr>
  <p:transition/>
  <p:timing/>
</p:sld>
</file>

<file path=ppt/slides/slide2.xml><?xml version="1.0" encoding="utf-8"?>
<p:sld xmlns:a="http://schemas.openxmlformats.org/drawingml/2006/main" xmlns:a14="http://schemas.microsoft.com/office/drawing/2010/main" xmlns:m="http://schemas.openxmlformats.org/officeDocument/2006/math" xmlns:mc="http://schemas.openxmlformats.org/markup-compatibility/2006" xmlns:p="http://schemas.openxmlformats.org/presentationml/2006/main" xmlns:p14="http://schemas.microsoft.com/office/powerpoint/2010/main" xmlns:p15="http://schemas.microsoft.com/office/powerpoint/2012/main" xmlns:p159="http://schemas.microsoft.com/office/powerpoint/2015/09/main" xmlns:r="http://schemas.openxmlformats.org/officeDocument/2006/relationships" xmlns:w="http://schemas.openxmlformats.org/wordprocessingml/2006/main" xmlns:wp="http://schemas.openxmlformats.org/drawingml/2006/wordprocessingDrawing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pSp>
        <p:nvGrpSpPr>
          <p:cNvPr id="17410" name="Group 374"/>
          <p:cNvGrpSpPr/>
          <p:nvPr/>
        </p:nvGrpSpPr>
        <p:grpSpPr>
          <a:xfrm flipH="1">
            <a:off x="784225" y="1138238"/>
            <a:ext cx="139700" cy="1039812"/>
            <a:chOff x="4793" y="652"/>
            <a:chExt cx="330" cy="2454"/>
          </a:xfrm>
        </p:grpSpPr>
        <p:sp>
          <p:nvSpPr>
            <p:cNvPr id="17536" name="Freeform 375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7" name="Freeform 376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8" name="Freeform 377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1" name="Group 476"/>
          <p:cNvGrpSpPr/>
          <p:nvPr/>
        </p:nvGrpSpPr>
        <p:grpSpPr>
          <a:xfrm>
            <a:off x="2146300" y="3467100"/>
            <a:ext cx="139700" cy="1039813"/>
            <a:chOff x="4793" y="652"/>
            <a:chExt cx="330" cy="2454"/>
          </a:xfrm>
        </p:grpSpPr>
        <p:sp>
          <p:nvSpPr>
            <p:cNvPr id="17533" name="Freeform 477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4" name="Freeform 478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5" name="Freeform 479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2" name="Group 486"/>
          <p:cNvGrpSpPr/>
          <p:nvPr/>
        </p:nvGrpSpPr>
        <p:grpSpPr>
          <a:xfrm>
            <a:off x="5251450" y="3467100"/>
            <a:ext cx="139700" cy="1039813"/>
            <a:chOff x="4793" y="652"/>
            <a:chExt cx="330" cy="2454"/>
          </a:xfrm>
        </p:grpSpPr>
        <p:sp>
          <p:nvSpPr>
            <p:cNvPr id="17530" name="Freeform 487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1" name="Freeform 488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32" name="Freeform 489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3" name="Group 496"/>
          <p:cNvGrpSpPr/>
          <p:nvPr/>
        </p:nvGrpSpPr>
        <p:grpSpPr>
          <a:xfrm>
            <a:off x="8081963" y="3467100"/>
            <a:ext cx="139700" cy="1039813"/>
            <a:chOff x="4793" y="652"/>
            <a:chExt cx="330" cy="2454"/>
          </a:xfrm>
        </p:grpSpPr>
        <p:sp>
          <p:nvSpPr>
            <p:cNvPr id="17527" name="Freeform 497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8" name="Freeform 498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9" name="Freeform 499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4" name="Group 394"/>
          <p:cNvGrpSpPr/>
          <p:nvPr/>
        </p:nvGrpSpPr>
        <p:grpSpPr>
          <a:xfrm flipH="1">
            <a:off x="3454400" y="1138238"/>
            <a:ext cx="139700" cy="1039812"/>
            <a:chOff x="4793" y="652"/>
            <a:chExt cx="330" cy="2454"/>
          </a:xfrm>
        </p:grpSpPr>
        <p:sp>
          <p:nvSpPr>
            <p:cNvPr id="17524" name="Freeform 395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5" name="Freeform 396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6" name="Freeform 397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5" name="Group 398"/>
          <p:cNvGrpSpPr/>
          <p:nvPr/>
        </p:nvGrpSpPr>
        <p:grpSpPr>
          <a:xfrm flipH="1">
            <a:off x="3476625" y="3471863"/>
            <a:ext cx="139700" cy="1039812"/>
            <a:chOff x="4793" y="652"/>
            <a:chExt cx="330" cy="2454"/>
          </a:xfrm>
        </p:grpSpPr>
        <p:sp>
          <p:nvSpPr>
            <p:cNvPr id="17521" name="Freeform 399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2" name="Freeform 400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3" name="Freeform 401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6" name="Group 402"/>
          <p:cNvGrpSpPr/>
          <p:nvPr/>
        </p:nvGrpSpPr>
        <p:grpSpPr>
          <a:xfrm flipH="1">
            <a:off x="6307138" y="3471863"/>
            <a:ext cx="139700" cy="1039812"/>
            <a:chOff x="4793" y="652"/>
            <a:chExt cx="330" cy="2454"/>
          </a:xfrm>
        </p:grpSpPr>
        <p:sp>
          <p:nvSpPr>
            <p:cNvPr id="17518" name="Freeform 403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19" name="Freeform 404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20" name="Freeform 405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7" name="Group 406"/>
          <p:cNvGrpSpPr/>
          <p:nvPr/>
        </p:nvGrpSpPr>
        <p:grpSpPr>
          <a:xfrm flipH="1">
            <a:off x="6691313" y="1138238"/>
            <a:ext cx="139700" cy="1039812"/>
            <a:chOff x="4793" y="652"/>
            <a:chExt cx="330" cy="2454"/>
          </a:xfrm>
        </p:grpSpPr>
        <p:sp>
          <p:nvSpPr>
            <p:cNvPr id="17515" name="Freeform 407"/>
            <p:cNvSpPr/>
            <p:nvPr/>
          </p:nvSpPr>
          <p:spPr bwMode="auto">
            <a:xfrm>
              <a:off x="4828" y="664"/>
              <a:ext cx="177" cy="2442"/>
            </a:xfrm>
            <a:custGeom>
              <a:gdLst>
                <a:gd fmla="*/ 212 w 75" name="T0"/>
                <a:gd fmla="*/ 5571 h 1034" name="T1"/>
                <a:gd fmla="*/ 0 w 75" name="T2"/>
                <a:gd fmla="*/ 5706 h 1034" name="T3"/>
                <a:gd fmla="*/ 73 w 75" name="T4"/>
                <a:gd fmla="*/ 3937 h 1034" name="T5"/>
                <a:gd fmla="*/ 179 w 75" name="T6"/>
                <a:gd fmla="*/ 1996 h 1034" name="T7"/>
                <a:gd fmla="*/ 262 w 75" name="T8"/>
                <a:gd fmla="*/ 45 h 1034" name="T9"/>
                <a:gd fmla="*/ 385 w 75" name="T10"/>
                <a:gd fmla="*/ 0 h 1034" name="T11"/>
                <a:gd fmla="*/ 212 w 75" name="T12"/>
                <a:gd fmla="*/ 5571 h 1034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75" name="T21"/>
                <a:gd fmla="*/ 0 h 1034" name="T22"/>
                <a:gd fmla="*/ 75 w 75" name="T23"/>
                <a:gd fmla="*/ 1034 h 1034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16" name="Freeform 408"/>
            <p:cNvSpPr/>
            <p:nvPr/>
          </p:nvSpPr>
          <p:spPr bwMode="auto">
            <a:xfrm>
              <a:off x="4819" y="652"/>
              <a:ext cx="304" cy="2449"/>
            </a:xfrm>
            <a:custGeom>
              <a:gdLst>
                <a:gd fmla="*/ 627 w 129" name="T0"/>
                <a:gd fmla="*/ 57 h 1037" name="T1"/>
                <a:gd fmla="*/ 361 w 129" name="T2"/>
                <a:gd fmla="*/ 45 h 1037" name="T3"/>
                <a:gd fmla="*/ 306 w 129" name="T4"/>
                <a:gd fmla="*/ 196 h 1037" name="T5"/>
                <a:gd fmla="*/ 262 w 129" name="T6"/>
                <a:gd fmla="*/ 2765 h 1037" name="T7"/>
                <a:gd fmla="*/ 200 w 129" name="T8"/>
                <a:gd fmla="*/ 4015 h 1037" name="T9"/>
                <a:gd fmla="*/ 151 w 129" name="T10"/>
                <a:gd fmla="*/ 4350 h 1037" name="T11"/>
                <a:gd fmla="*/ 184 w 129" name="T12"/>
                <a:gd fmla="*/ 4674 h 1037" name="T13"/>
                <a:gd fmla="*/ 151 w 129" name="T14"/>
                <a:gd fmla="*/ 5448 h 1037" name="T15"/>
                <a:gd fmla="*/ 28 w 129" name="T16"/>
                <a:gd fmla="*/ 5762 h 1037" name="T17"/>
                <a:gd fmla="*/ 361 w 129" name="T18"/>
                <a:gd fmla="*/ 5784 h 1037" name="T19"/>
                <a:gd fmla="*/ 627 w 129" name="T20"/>
                <a:gd fmla="*/ 57 h 1037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129" name="T33"/>
                <a:gd fmla="*/ 0 h 1037" name="T34"/>
                <a:gd fmla="*/ 129 w 129" name="T35"/>
                <a:gd fmla="*/ 1037 h 1037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A64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517" name="Freeform 409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8" name="Group 186"/>
          <p:cNvGrpSpPr/>
          <p:nvPr/>
        </p:nvGrpSpPr>
        <p:grpSpPr>
          <a:xfrm>
            <a:off x="5229225" y="1133475"/>
            <a:ext cx="139700" cy="1039813"/>
            <a:chOff x="4793" y="652"/>
            <a:chExt cx="330" cy="2454"/>
          </a:xfrm>
        </p:grpSpPr>
        <p:sp>
          <p:nvSpPr>
            <p:cNvPr id="200891" name="Freeform 187"/>
            <p:cNvSpPr/>
            <p:nvPr/>
          </p:nvSpPr>
          <p:spPr bwMode="auto">
            <a:xfrm>
              <a:off x="4827" y="663"/>
              <a:ext cx="180" cy="2443"/>
            </a:xfrm>
            <a:custGeom>
              <a:cxnLst>
                <a:cxn ang="0">
                  <a:pos x="38" y="999"/>
                </a:cxn>
                <a:cxn ang="0">
                  <a:pos x="0" y="1023"/>
                </a:cxn>
                <a:cxn ang="0">
                  <a:pos x="13" y="706"/>
                </a:cxn>
                <a:cxn ang="0">
                  <a:pos x="32" y="358"/>
                </a:cxn>
                <a:cxn ang="0">
                  <a:pos x="47" y="8"/>
                </a:cxn>
                <a:cxn ang="0">
                  <a:pos x="69" y="0"/>
                </a:cxn>
                <a:cxn ang="0">
                  <a:pos x="38" y="999"/>
                </a:cxn>
              </a:cxnLst>
              <a:rect b="b" l="0" r="r" t="0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892" name="Freeform 188"/>
            <p:cNvSpPr/>
            <p:nvPr/>
          </p:nvSpPr>
          <p:spPr bwMode="auto">
            <a:xfrm>
              <a:off x="4819" y="652"/>
              <a:ext cx="304" cy="2450"/>
            </a:xfrm>
            <a:custGeom>
              <a:cxnLst>
                <a:cxn ang="0">
                  <a:pos x="113" y="10"/>
                </a:cxn>
                <a:cxn ang="0">
                  <a:pos x="65" y="8"/>
                </a:cxn>
                <a:cxn ang="0">
                  <a:pos x="55" y="35"/>
                </a:cxn>
                <a:cxn ang="0">
                  <a:pos x="47" y="496"/>
                </a:cxn>
                <a:cxn ang="0">
                  <a:pos x="36" y="720"/>
                </a:cxn>
                <a:cxn ang="0">
                  <a:pos x="27" y="780"/>
                </a:cxn>
                <a:cxn ang="0">
                  <a:pos x="33" y="838"/>
                </a:cxn>
                <a:cxn ang="0">
                  <a:pos x="27" y="977"/>
                </a:cxn>
                <a:cxn ang="0">
                  <a:pos x="5" y="1033"/>
                </a:cxn>
                <a:cxn ang="0">
                  <a:pos x="65" y="1037"/>
                </a:cxn>
                <a:cxn ang="0">
                  <a:pos x="113" y="10"/>
                </a:cxn>
              </a:cxnLst>
              <a:rect b="b" l="0" r="r" t="0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7514" name="Freeform 189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19" name="Group 194"/>
          <p:cNvGrpSpPr/>
          <p:nvPr/>
        </p:nvGrpSpPr>
        <p:grpSpPr>
          <a:xfrm>
            <a:off x="2557463" y="1133475"/>
            <a:ext cx="141287" cy="1039813"/>
            <a:chOff x="4793" y="652"/>
            <a:chExt cx="330" cy="2454"/>
          </a:xfrm>
        </p:grpSpPr>
        <p:sp>
          <p:nvSpPr>
            <p:cNvPr id="200899" name="Freeform 195"/>
            <p:cNvSpPr/>
            <p:nvPr/>
          </p:nvSpPr>
          <p:spPr bwMode="auto">
            <a:xfrm>
              <a:off x="4826" y="663"/>
              <a:ext cx="178" cy="2443"/>
            </a:xfrm>
            <a:custGeom>
              <a:cxnLst>
                <a:cxn ang="0">
                  <a:pos x="38" y="999"/>
                </a:cxn>
                <a:cxn ang="0">
                  <a:pos x="0" y="1023"/>
                </a:cxn>
                <a:cxn ang="0">
                  <a:pos x="13" y="706"/>
                </a:cxn>
                <a:cxn ang="0">
                  <a:pos x="32" y="358"/>
                </a:cxn>
                <a:cxn ang="0">
                  <a:pos x="47" y="8"/>
                </a:cxn>
                <a:cxn ang="0">
                  <a:pos x="69" y="0"/>
                </a:cxn>
                <a:cxn ang="0">
                  <a:pos x="38" y="999"/>
                </a:cxn>
              </a:cxnLst>
              <a:rect b="b" l="0" r="r" t="0"/>
              <a:pathLst>
                <a:path h="1034" w="75">
                  <a:moveTo>
                    <a:pt x="38" y="999"/>
                  </a:moveTo>
                  <a:cubicBezTo>
                    <a:pt x="38" y="999"/>
                    <a:pt x="0" y="1034"/>
                    <a:pt x="0" y="1023"/>
                  </a:cubicBezTo>
                  <a:cubicBezTo>
                    <a:pt x="0" y="1012"/>
                    <a:pt x="11" y="726"/>
                    <a:pt x="13" y="706"/>
                  </a:cubicBezTo>
                  <a:cubicBezTo>
                    <a:pt x="15" y="686"/>
                    <a:pt x="31" y="376"/>
                    <a:pt x="32" y="358"/>
                  </a:cubicBezTo>
                  <a:cubicBezTo>
                    <a:pt x="33" y="340"/>
                    <a:pt x="39" y="16"/>
                    <a:pt x="47" y="8"/>
                  </a:cubicBezTo>
                  <a:cubicBezTo>
                    <a:pt x="54" y="1"/>
                    <a:pt x="63" y="0"/>
                    <a:pt x="69" y="0"/>
                  </a:cubicBezTo>
                  <a:cubicBezTo>
                    <a:pt x="75" y="0"/>
                    <a:pt x="38" y="999"/>
                    <a:pt x="38" y="99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900" name="Freeform 196"/>
            <p:cNvSpPr/>
            <p:nvPr/>
          </p:nvSpPr>
          <p:spPr bwMode="auto">
            <a:xfrm>
              <a:off x="4819" y="652"/>
              <a:ext cx="304" cy="2450"/>
            </a:xfrm>
            <a:custGeom>
              <a:cxnLst>
                <a:cxn ang="0">
                  <a:pos x="113" y="10"/>
                </a:cxn>
                <a:cxn ang="0">
                  <a:pos x="65" y="8"/>
                </a:cxn>
                <a:cxn ang="0">
                  <a:pos x="55" y="35"/>
                </a:cxn>
                <a:cxn ang="0">
                  <a:pos x="47" y="496"/>
                </a:cxn>
                <a:cxn ang="0">
                  <a:pos x="36" y="720"/>
                </a:cxn>
                <a:cxn ang="0">
                  <a:pos x="27" y="780"/>
                </a:cxn>
                <a:cxn ang="0">
                  <a:pos x="33" y="838"/>
                </a:cxn>
                <a:cxn ang="0">
                  <a:pos x="27" y="977"/>
                </a:cxn>
                <a:cxn ang="0">
                  <a:pos x="5" y="1033"/>
                </a:cxn>
                <a:cxn ang="0">
                  <a:pos x="65" y="1037"/>
                </a:cxn>
                <a:cxn ang="0">
                  <a:pos x="113" y="10"/>
                </a:cxn>
              </a:cxnLst>
              <a:rect b="b" l="0" r="r" t="0"/>
              <a:pathLst>
                <a:path h="1037" w="129">
                  <a:moveTo>
                    <a:pt x="113" y="10"/>
                  </a:moveTo>
                  <a:cubicBezTo>
                    <a:pt x="98" y="8"/>
                    <a:pt x="75" y="0"/>
                    <a:pt x="65" y="8"/>
                  </a:cubicBezTo>
                  <a:cubicBezTo>
                    <a:pt x="55" y="16"/>
                    <a:pt x="55" y="19"/>
                    <a:pt x="55" y="35"/>
                  </a:cubicBezTo>
                  <a:cubicBezTo>
                    <a:pt x="55" y="51"/>
                    <a:pt x="47" y="474"/>
                    <a:pt x="47" y="496"/>
                  </a:cubicBezTo>
                  <a:cubicBezTo>
                    <a:pt x="47" y="519"/>
                    <a:pt x="48" y="704"/>
                    <a:pt x="36" y="720"/>
                  </a:cubicBezTo>
                  <a:cubicBezTo>
                    <a:pt x="24" y="737"/>
                    <a:pt x="30" y="756"/>
                    <a:pt x="27" y="780"/>
                  </a:cubicBezTo>
                  <a:cubicBezTo>
                    <a:pt x="24" y="804"/>
                    <a:pt x="35" y="821"/>
                    <a:pt x="33" y="838"/>
                  </a:cubicBezTo>
                  <a:cubicBezTo>
                    <a:pt x="31" y="855"/>
                    <a:pt x="34" y="956"/>
                    <a:pt x="27" y="977"/>
                  </a:cubicBezTo>
                  <a:cubicBezTo>
                    <a:pt x="20" y="998"/>
                    <a:pt x="0" y="1033"/>
                    <a:pt x="5" y="1033"/>
                  </a:cubicBezTo>
                  <a:cubicBezTo>
                    <a:pt x="15" y="1033"/>
                    <a:pt x="65" y="1037"/>
                    <a:pt x="65" y="1037"/>
                  </a:cubicBezTo>
                  <a:cubicBezTo>
                    <a:pt x="65" y="1037"/>
                    <a:pt x="129" y="12"/>
                    <a:pt x="113" y="1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0784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7511" name="Freeform 197"/>
            <p:cNvSpPr/>
            <p:nvPr/>
          </p:nvSpPr>
          <p:spPr bwMode="auto">
            <a:xfrm>
              <a:off x="4793" y="1476"/>
              <a:ext cx="165" cy="652"/>
            </a:xfrm>
            <a:custGeom>
              <a:gdLst>
                <a:gd fmla="*/ 184 w 70" name="T0"/>
                <a:gd fmla="*/ 1540 h 276" name="T1"/>
                <a:gd fmla="*/ 17 w 70" name="T2"/>
                <a:gd fmla="*/ 1422 h 276" name="T3"/>
                <a:gd fmla="*/ 12 w 70" name="T4"/>
                <a:gd fmla="*/ 1401 h 276" name="T5"/>
                <a:gd fmla="*/ 40 w 70" name="T6"/>
                <a:gd fmla="*/ 1134 h 276" name="T7"/>
                <a:gd fmla="*/ 144 w 70" name="T8"/>
                <a:gd fmla="*/ 697 h 276" name="T9"/>
                <a:gd fmla="*/ 316 w 70" name="T10"/>
                <a:gd fmla="*/ 40 h 276" name="T11"/>
                <a:gd fmla="*/ 389 w 70" name="T12"/>
                <a:gd fmla="*/ 0 h 276" name="T13"/>
                <a:gd fmla="*/ 384 w 70" name="T14"/>
                <a:gd fmla="*/ 73 h 276" name="T15"/>
                <a:gd fmla="*/ 361 w 70" name="T16"/>
                <a:gd fmla="*/ 90 h 276" name="T17"/>
                <a:gd fmla="*/ 212 w 70" name="T18"/>
                <a:gd fmla="*/ 709 h 276" name="T19"/>
                <a:gd fmla="*/ 106 w 70" name="T20"/>
                <a:gd fmla="*/ 1150 h 276" name="T21"/>
                <a:gd fmla="*/ 78 w 70" name="T22"/>
                <a:gd fmla="*/ 1389 h 276" name="T23"/>
                <a:gd fmla="*/ 83 w 70" name="T24"/>
                <a:gd fmla="*/ 1417 h 276" name="T25"/>
                <a:gd fmla="*/ 189 w 70" name="T26"/>
                <a:gd fmla="*/ 1474 h 276" name="T27"/>
                <a:gd fmla="*/ 184 w 70" name="T28"/>
                <a:gd fmla="*/ 1540 h 27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60000 65536" name="T42"/>
                <a:gd fmla="*/ 0 60000 65536" name="T43"/>
                <a:gd fmla="*/ 0 60000 65536" name="T44"/>
                <a:gd fmla="*/ 0 w 70" name="T45"/>
                <a:gd fmla="*/ 0 h 276" name="T46"/>
                <a:gd fmla="*/ 70 w 70" name="T47"/>
                <a:gd fmla="*/ 276 h 276" name="T48"/>
              </a:gdLst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b="T48" l="T45" r="T47" t="T46"/>
              <a:pathLst>
                <a:path h="276" w="70">
                  <a:moveTo>
                    <a:pt x="33" y="276"/>
                  </a:moveTo>
                  <a:cubicBezTo>
                    <a:pt x="25" y="275"/>
                    <a:pt x="4" y="268"/>
                    <a:pt x="3" y="255"/>
                  </a:cubicBezTo>
                  <a:cubicBezTo>
                    <a:pt x="3" y="253"/>
                    <a:pt x="3" y="252"/>
                    <a:pt x="2" y="251"/>
                  </a:cubicBezTo>
                  <a:cubicBezTo>
                    <a:pt x="1" y="241"/>
                    <a:pt x="0" y="230"/>
                    <a:pt x="7" y="203"/>
                  </a:cubicBezTo>
                  <a:cubicBezTo>
                    <a:pt x="10" y="191"/>
                    <a:pt x="18" y="159"/>
                    <a:pt x="26" y="125"/>
                  </a:cubicBezTo>
                  <a:cubicBezTo>
                    <a:pt x="50" y="22"/>
                    <a:pt x="54" y="10"/>
                    <a:pt x="57" y="7"/>
                  </a:cubicBezTo>
                  <a:cubicBezTo>
                    <a:pt x="60" y="4"/>
                    <a:pt x="66" y="2"/>
                    <a:pt x="70" y="0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4"/>
                    <a:pt x="66" y="15"/>
                    <a:pt x="65" y="16"/>
                  </a:cubicBezTo>
                  <a:cubicBezTo>
                    <a:pt x="62" y="24"/>
                    <a:pt x="48" y="84"/>
                    <a:pt x="38" y="127"/>
                  </a:cubicBezTo>
                  <a:cubicBezTo>
                    <a:pt x="30" y="162"/>
                    <a:pt x="22" y="194"/>
                    <a:pt x="19" y="206"/>
                  </a:cubicBezTo>
                  <a:cubicBezTo>
                    <a:pt x="12" y="230"/>
                    <a:pt x="13" y="240"/>
                    <a:pt x="14" y="249"/>
                  </a:cubicBezTo>
                  <a:cubicBezTo>
                    <a:pt x="15" y="251"/>
                    <a:pt x="15" y="252"/>
                    <a:pt x="15" y="254"/>
                  </a:cubicBezTo>
                  <a:cubicBezTo>
                    <a:pt x="15" y="257"/>
                    <a:pt x="25" y="262"/>
                    <a:pt x="34" y="264"/>
                  </a:cubicBezTo>
                  <a:lnTo>
                    <a:pt x="33" y="27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sp>
        <p:nvSpPr>
          <p:cNvPr id="17420" name="Line 88"/>
          <p:cNvSpPr>
            <a:spLocks noChangeShapeType="1"/>
          </p:cNvSpPr>
          <p:nvPr/>
        </p:nvSpPr>
        <p:spPr bwMode="auto">
          <a:xfrm>
            <a:off x="0" y="4235450"/>
            <a:ext cx="9144000" cy="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</a:ln>
          <a:extLst>
            <a:ext uri="{909E8E84-426E-40DD-AFC4-6F175D3DCCD1}">
              <a14:hiddenFill>
                <a:noFill/>
              </a14:hiddenFill>
            </a:ext>
          </a:extLst>
        </p:spPr>
        <p:txBody>
          <a:bodyPr/>
          <a:lstStyle/>
          <a:p>
            <a:endParaRPr altLang="en-US" lang="zh-CN"/>
          </a:p>
        </p:txBody>
      </p:sp>
      <p:grpSp>
        <p:nvGrpSpPr>
          <p:cNvPr id="17421" name="Group 509"/>
          <p:cNvGrpSpPr/>
          <p:nvPr/>
        </p:nvGrpSpPr>
        <p:grpSpPr>
          <a:xfrm>
            <a:off x="3346450" y="4140200"/>
            <a:ext cx="2195513" cy="1973263"/>
            <a:chOff x="2108" y="2608"/>
            <a:chExt cx="1383" cy="1243"/>
          </a:xfrm>
        </p:grpSpPr>
        <p:sp>
          <p:nvSpPr>
            <p:cNvPr id="17504" name="Rectangle 10"/>
            <p:cNvSpPr>
              <a:spLocks noChangeArrowheads="1"/>
            </p:cNvSpPr>
            <p:nvPr/>
          </p:nvSpPr>
          <p:spPr bwMode="gray">
            <a:xfrm rot="193256">
              <a:off x="2108" y="2608"/>
              <a:ext cx="1383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817" name="Text Box 113"/>
            <p:cNvSpPr txBox="1">
              <a:spLocks noChangeArrowheads="1"/>
            </p:cNvSpPr>
            <p:nvPr/>
          </p:nvSpPr>
          <p:spPr bwMode="auto">
            <a:xfrm rot="193256">
              <a:off x="2162" y="2646"/>
              <a:ext cx="1287" cy="957"/>
            </a:xfrm>
            <a:prstGeom prst="rect">
              <a:avLst/>
            </a:prstGeom>
            <a:blipFill dpi="0" rotWithShape="1">
              <a:blip r:embed="rId3"/>
              <a:stretch>
                <a:fillRect b="-862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508" name="Rectangle 9"/>
            <p:cNvSpPr>
              <a:spLocks noChangeArrowheads="1"/>
            </p:cNvSpPr>
            <p:nvPr/>
          </p:nvSpPr>
          <p:spPr bwMode="gray">
            <a:xfrm rot="193256">
              <a:off x="2129" y="3643"/>
              <a:ext cx="128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22" name="Group 510"/>
          <p:cNvGrpSpPr/>
          <p:nvPr/>
        </p:nvGrpSpPr>
        <p:grpSpPr>
          <a:xfrm>
            <a:off x="6176963" y="4124325"/>
            <a:ext cx="2195512" cy="1973263"/>
            <a:chOff x="3891" y="2598"/>
            <a:chExt cx="1383" cy="1243"/>
          </a:xfrm>
        </p:grpSpPr>
        <p:sp>
          <p:nvSpPr>
            <p:cNvPr id="17499" name="Rectangle 10"/>
            <p:cNvSpPr>
              <a:spLocks noChangeArrowheads="1"/>
            </p:cNvSpPr>
            <p:nvPr/>
          </p:nvSpPr>
          <p:spPr bwMode="gray">
            <a:xfrm rot="-132572">
              <a:off x="3891" y="2598"/>
              <a:ext cx="1383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839" name="Text Box 135"/>
            <p:cNvSpPr txBox="1">
              <a:spLocks noChangeArrowheads="1"/>
            </p:cNvSpPr>
            <p:nvPr/>
          </p:nvSpPr>
          <p:spPr bwMode="auto">
            <a:xfrm rot="-132572">
              <a:off x="3935" y="2636"/>
              <a:ext cx="1287" cy="957"/>
            </a:xfrm>
            <a:prstGeom prst="rect">
              <a:avLst/>
            </a:prstGeom>
            <a:blipFill dpi="0" rotWithShape="1">
              <a:blip r:embed="rId4"/>
              <a:stretch>
                <a:fillRect r="-29404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503" name="Rectangle 9"/>
            <p:cNvSpPr>
              <a:spLocks noChangeArrowheads="1"/>
            </p:cNvSpPr>
            <p:nvPr/>
          </p:nvSpPr>
          <p:spPr bwMode="gray">
            <a:xfrm rot="-132572">
              <a:off x="3959" y="3633"/>
              <a:ext cx="128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23" name="Group 360"/>
          <p:cNvGrpSpPr/>
          <p:nvPr/>
        </p:nvGrpSpPr>
        <p:grpSpPr>
          <a:xfrm flipH="1">
            <a:off x="3378200" y="3463925"/>
            <a:ext cx="201613" cy="1052513"/>
            <a:chOff x="4878" y="631"/>
            <a:chExt cx="479" cy="2487"/>
          </a:xfrm>
        </p:grpSpPr>
        <p:sp>
          <p:nvSpPr>
            <p:cNvPr id="17495" name="Freeform 361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6" name="Freeform 362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7" name="Freeform 363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8" name="Freeform 364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24" name="Group 365"/>
          <p:cNvGrpSpPr/>
          <p:nvPr/>
        </p:nvGrpSpPr>
        <p:grpSpPr>
          <a:xfrm flipH="1">
            <a:off x="6208713" y="3463925"/>
            <a:ext cx="201612" cy="1052513"/>
            <a:chOff x="4878" y="631"/>
            <a:chExt cx="479" cy="2487"/>
          </a:xfrm>
        </p:grpSpPr>
        <p:sp>
          <p:nvSpPr>
            <p:cNvPr id="17491" name="Freeform 366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2" name="Freeform 367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3" name="Freeform 368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94" name="Freeform 369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sp>
        <p:nvSpPr>
          <p:cNvPr id="17425" name="Line 20"/>
          <p:cNvSpPr>
            <a:spLocks noChangeShapeType="1"/>
          </p:cNvSpPr>
          <p:nvPr/>
        </p:nvSpPr>
        <p:spPr bwMode="auto">
          <a:xfrm>
            <a:off x="0" y="1893888"/>
            <a:ext cx="9144000" cy="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</a:ln>
          <a:extLst>
            <a:ext uri="{909E8E84-426E-40DD-AFC4-6F175D3DCCD1}">
              <a14:hiddenFill>
                <a:noFill/>
              </a14:hiddenFill>
            </a:ext>
          </a:extLst>
        </p:spPr>
        <p:txBody>
          <a:bodyPr/>
          <a:lstStyle/>
          <a:p>
            <a:endParaRPr altLang="en-US" lang="zh-CN"/>
          </a:p>
        </p:txBody>
      </p:sp>
      <p:grpSp>
        <p:nvGrpSpPr>
          <p:cNvPr id="17426" name="Group 506"/>
          <p:cNvGrpSpPr/>
          <p:nvPr/>
        </p:nvGrpSpPr>
        <p:grpSpPr>
          <a:xfrm>
            <a:off x="642938" y="4264025"/>
            <a:ext cx="2322512" cy="1973263"/>
            <a:chOff x="405" y="2686"/>
            <a:chExt cx="1463" cy="1243"/>
          </a:xfrm>
        </p:grpSpPr>
        <p:sp>
          <p:nvSpPr>
            <p:cNvPr id="17486" name="Rectangle 10"/>
            <p:cNvSpPr>
              <a:spLocks noChangeArrowheads="1"/>
            </p:cNvSpPr>
            <p:nvPr/>
          </p:nvSpPr>
          <p:spPr bwMode="gray">
            <a:xfrm rot="-887705">
              <a:off x="405" y="2686"/>
              <a:ext cx="1384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795" name="Text Box 91"/>
            <p:cNvSpPr txBox="1">
              <a:spLocks noChangeArrowheads="1"/>
            </p:cNvSpPr>
            <p:nvPr/>
          </p:nvSpPr>
          <p:spPr bwMode="auto">
            <a:xfrm rot="-887705">
              <a:off x="427" y="2727"/>
              <a:ext cx="1288" cy="957"/>
            </a:xfrm>
            <a:prstGeom prst="rect">
              <a:avLst/>
            </a:prstGeom>
            <a:blipFill dpi="0" rotWithShape="1">
              <a:blip r:embed="rId5"/>
              <a:stretch>
                <a:fillRect b="-940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490" name="Rectangle 9"/>
            <p:cNvSpPr>
              <a:spLocks noChangeArrowheads="1"/>
            </p:cNvSpPr>
            <p:nvPr/>
          </p:nvSpPr>
          <p:spPr bwMode="gray">
            <a:xfrm rot="-887705">
              <a:off x="580" y="3705"/>
              <a:ext cx="1288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27" name="Group 480"/>
          <p:cNvGrpSpPr/>
          <p:nvPr/>
        </p:nvGrpSpPr>
        <p:grpSpPr>
          <a:xfrm>
            <a:off x="2182813" y="3459163"/>
            <a:ext cx="201612" cy="1052512"/>
            <a:chOff x="4878" y="631"/>
            <a:chExt cx="479" cy="2487"/>
          </a:xfrm>
        </p:grpSpPr>
        <p:sp>
          <p:nvSpPr>
            <p:cNvPr id="17482" name="Freeform 481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83" name="Freeform 482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84" name="Freeform 483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85" name="Freeform 484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28" name="Group 490"/>
          <p:cNvGrpSpPr/>
          <p:nvPr/>
        </p:nvGrpSpPr>
        <p:grpSpPr>
          <a:xfrm>
            <a:off x="5287963" y="3459163"/>
            <a:ext cx="201612" cy="1052512"/>
            <a:chOff x="4878" y="631"/>
            <a:chExt cx="479" cy="2487"/>
          </a:xfrm>
        </p:grpSpPr>
        <p:sp>
          <p:nvSpPr>
            <p:cNvPr id="17478" name="Freeform 491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79" name="Freeform 492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80" name="Freeform 493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81" name="Freeform 494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29" name="Group 500"/>
          <p:cNvGrpSpPr/>
          <p:nvPr/>
        </p:nvGrpSpPr>
        <p:grpSpPr>
          <a:xfrm>
            <a:off x="8118475" y="3459163"/>
            <a:ext cx="201613" cy="1052512"/>
            <a:chOff x="4878" y="631"/>
            <a:chExt cx="479" cy="2487"/>
          </a:xfrm>
        </p:grpSpPr>
        <p:sp>
          <p:nvSpPr>
            <p:cNvPr id="17474" name="Freeform 501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75" name="Freeform 502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76" name="Freeform 503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77" name="Freeform 504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30" name="Group 507"/>
          <p:cNvGrpSpPr/>
          <p:nvPr/>
        </p:nvGrpSpPr>
        <p:grpSpPr>
          <a:xfrm>
            <a:off x="642938" y="1862138"/>
            <a:ext cx="2197100" cy="1973262"/>
            <a:chOff x="405" y="1173"/>
            <a:chExt cx="1384" cy="1243"/>
          </a:xfrm>
        </p:grpSpPr>
        <p:sp>
          <p:nvSpPr>
            <p:cNvPr id="17469" name="Rectangle 10"/>
            <p:cNvSpPr>
              <a:spLocks noChangeArrowheads="1"/>
            </p:cNvSpPr>
            <p:nvPr/>
          </p:nvSpPr>
          <p:spPr bwMode="gray">
            <a:xfrm rot="-182217">
              <a:off x="405" y="1173"/>
              <a:ext cx="1384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727" name="Text Box 23"/>
            <p:cNvSpPr txBox="1">
              <a:spLocks noChangeArrowheads="1"/>
            </p:cNvSpPr>
            <p:nvPr/>
          </p:nvSpPr>
          <p:spPr bwMode="auto">
            <a:xfrm rot="-182217">
              <a:off x="448" y="1211"/>
              <a:ext cx="1288" cy="957"/>
            </a:xfrm>
            <a:prstGeom prst="rect">
              <a:avLst/>
            </a:prstGeom>
            <a:blipFill dpi="0" rotWithShape="1">
              <a:blip r:embed="rId4"/>
              <a:stretch>
                <a:fillRect r="-29303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473" name="Rectangle 9"/>
            <p:cNvSpPr>
              <a:spLocks noChangeArrowheads="1"/>
            </p:cNvSpPr>
            <p:nvPr/>
          </p:nvSpPr>
          <p:spPr bwMode="gray">
            <a:xfrm rot="-182217">
              <a:off x="480" y="2208"/>
              <a:ext cx="1288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31" name="Group 508"/>
          <p:cNvGrpSpPr/>
          <p:nvPr/>
        </p:nvGrpSpPr>
        <p:grpSpPr>
          <a:xfrm>
            <a:off x="3346450" y="1782763"/>
            <a:ext cx="2195513" cy="1973262"/>
            <a:chOff x="2108" y="1123"/>
            <a:chExt cx="1383" cy="1243"/>
          </a:xfrm>
        </p:grpSpPr>
        <p:sp>
          <p:nvSpPr>
            <p:cNvPr id="17464" name="Rectangle 10"/>
            <p:cNvSpPr>
              <a:spLocks noChangeArrowheads="1"/>
            </p:cNvSpPr>
            <p:nvPr/>
          </p:nvSpPr>
          <p:spPr bwMode="gray">
            <a:xfrm rot="204594">
              <a:off x="2108" y="1123"/>
              <a:ext cx="1383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749" name="Text Box 45"/>
            <p:cNvSpPr txBox="1">
              <a:spLocks noChangeArrowheads="1"/>
            </p:cNvSpPr>
            <p:nvPr/>
          </p:nvSpPr>
          <p:spPr bwMode="auto">
            <a:xfrm rot="204594">
              <a:off x="2163" y="1161"/>
              <a:ext cx="1287" cy="957"/>
            </a:xfrm>
            <a:prstGeom prst="rect">
              <a:avLst/>
            </a:prstGeom>
            <a:blipFill dpi="0" rotWithShape="1">
              <a:blip r:embed="rId6"/>
              <a:stretch>
                <a:fillRect r="-31024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468" name="Rectangle 9"/>
            <p:cNvSpPr>
              <a:spLocks noChangeArrowheads="1"/>
            </p:cNvSpPr>
            <p:nvPr/>
          </p:nvSpPr>
          <p:spPr bwMode="gray">
            <a:xfrm rot="204594">
              <a:off x="2127" y="2158"/>
              <a:ext cx="128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32" name="Group 511"/>
          <p:cNvGrpSpPr/>
          <p:nvPr/>
        </p:nvGrpSpPr>
        <p:grpSpPr>
          <a:xfrm>
            <a:off x="5867400" y="2011363"/>
            <a:ext cx="2511425" cy="1973262"/>
            <a:chOff x="3696" y="1267"/>
            <a:chExt cx="1582" cy="1243"/>
          </a:xfrm>
        </p:grpSpPr>
        <p:sp>
          <p:nvSpPr>
            <p:cNvPr id="17459" name="Rectangle 10"/>
            <p:cNvSpPr>
              <a:spLocks noChangeArrowheads="1"/>
            </p:cNvSpPr>
            <p:nvPr/>
          </p:nvSpPr>
          <p:spPr bwMode="gray">
            <a:xfrm rot="1755247">
              <a:off x="3891" y="1267"/>
              <a:ext cx="1383" cy="1243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 sz="1400">
                <a:ea charset="-122" panose="02010600030101010101" pitchFamily="2" typeface="宋体"/>
              </a:endParaRPr>
            </a:p>
          </p:txBody>
        </p:sp>
        <p:sp>
          <p:nvSpPr>
            <p:cNvPr id="200772" name="Text Box 68"/>
            <p:cNvSpPr txBox="1">
              <a:spLocks noChangeArrowheads="1"/>
            </p:cNvSpPr>
            <p:nvPr/>
          </p:nvSpPr>
          <p:spPr bwMode="auto">
            <a:xfrm rot="1755247">
              <a:off x="3991" y="1318"/>
              <a:ext cx="1287" cy="957"/>
            </a:xfrm>
            <a:prstGeom prst="rect">
              <a:avLst/>
            </a:prstGeom>
            <a:blipFill dpi="0" rotWithShape="1">
              <a:blip r:embed="rId7"/>
              <a:stretch>
                <a:fillRect b="-862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7463" name="Rectangle 9"/>
            <p:cNvSpPr>
              <a:spLocks noChangeArrowheads="1"/>
            </p:cNvSpPr>
            <p:nvPr/>
          </p:nvSpPr>
          <p:spPr bwMode="gray">
            <a:xfrm rot="1755247">
              <a:off x="3696" y="2240"/>
              <a:ext cx="128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200">
                  <a:ea charset="-122" panose="02010600030101010101" pitchFamily="2" typeface="宋体"/>
                </a:rPr>
                <a:t>This text can be </a:t>
              </a:r>
              <a:br>
                <a:rPr altLang="zh-CN" lang="en-US" sz="1200">
                  <a:ea charset="-122" panose="02010600030101010101" pitchFamily="2" typeface="宋体"/>
                </a:rPr>
              </a:br>
              <a:r>
                <a:rPr altLang="zh-CN" lang="en-US" sz="12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7433" name="Group 202"/>
          <p:cNvGrpSpPr/>
          <p:nvPr/>
        </p:nvGrpSpPr>
        <p:grpSpPr>
          <a:xfrm flipH="1">
            <a:off x="685800" y="1130300"/>
            <a:ext cx="201613" cy="1052513"/>
            <a:chOff x="4878" y="631"/>
            <a:chExt cx="479" cy="2487"/>
          </a:xfrm>
        </p:grpSpPr>
        <p:sp>
          <p:nvSpPr>
            <p:cNvPr id="17455" name="Freeform 203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56" name="Freeform 204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57" name="Freeform 205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58" name="Freeform 206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34" name="Group 207"/>
          <p:cNvGrpSpPr/>
          <p:nvPr/>
        </p:nvGrpSpPr>
        <p:grpSpPr>
          <a:xfrm>
            <a:off x="2593975" y="1125538"/>
            <a:ext cx="203200" cy="1052512"/>
            <a:chOff x="4878" y="631"/>
            <a:chExt cx="479" cy="2487"/>
          </a:xfrm>
        </p:grpSpPr>
        <p:sp>
          <p:nvSpPr>
            <p:cNvPr id="200912" name="Freeform 208"/>
            <p:cNvSpPr/>
            <p:nvPr/>
          </p:nvSpPr>
          <p:spPr bwMode="auto">
            <a:xfrm>
              <a:off x="4878" y="631"/>
              <a:ext cx="195" cy="2476"/>
            </a:xfrm>
            <a:custGeom>
              <a:cxnLst>
                <a:cxn ang="0">
                  <a:pos x="68" y="30"/>
                </a:cxn>
                <a:cxn ang="0">
                  <a:pos x="34" y="354"/>
                </a:cxn>
                <a:cxn ang="0">
                  <a:pos x="22" y="449"/>
                </a:cxn>
                <a:cxn ang="0">
                  <a:pos x="22" y="528"/>
                </a:cxn>
                <a:cxn ang="0">
                  <a:pos x="18" y="562"/>
                </a:cxn>
                <a:cxn ang="0">
                  <a:pos x="11" y="729"/>
                </a:cxn>
                <a:cxn ang="0">
                  <a:pos x="11" y="830"/>
                </a:cxn>
                <a:cxn ang="0">
                  <a:pos x="4" y="995"/>
                </a:cxn>
                <a:cxn ang="0">
                  <a:pos x="35" y="1042"/>
                </a:cxn>
                <a:cxn ang="0">
                  <a:pos x="76" y="10"/>
                </a:cxn>
                <a:cxn ang="0">
                  <a:pos x="68" y="30"/>
                </a:cxn>
              </a:cxnLst>
              <a:rect b="b" l="0" r="r" t="0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913" name="Freeform 209"/>
            <p:cNvSpPr/>
            <p:nvPr/>
          </p:nvSpPr>
          <p:spPr bwMode="auto">
            <a:xfrm>
              <a:off x="4927" y="631"/>
              <a:ext cx="430" cy="2487"/>
            </a:xfrm>
            <a:custGeom>
              <a:cxnLst>
                <a:cxn ang="0">
                  <a:pos x="20" y="1046"/>
                </a:cxn>
                <a:cxn ang="0">
                  <a:pos x="2" y="1016"/>
                </a:cxn>
                <a:cxn ang="0">
                  <a:pos x="48" y="30"/>
                </a:cxn>
                <a:cxn ang="0">
                  <a:pos x="79" y="4"/>
                </a:cxn>
                <a:cxn ang="0">
                  <a:pos x="165" y="10"/>
                </a:cxn>
                <a:cxn ang="0">
                  <a:pos x="183" y="30"/>
                </a:cxn>
                <a:cxn ang="0">
                  <a:pos x="132" y="1032"/>
                </a:cxn>
                <a:cxn ang="0">
                  <a:pos x="115" y="1053"/>
                </a:cxn>
                <a:cxn ang="0">
                  <a:pos x="20" y="1046"/>
                </a:cxn>
              </a:cxnLst>
              <a:rect b="b" l="0" r="r" t="0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2745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914" name="Freeform 210"/>
            <p:cNvSpPr/>
            <p:nvPr/>
          </p:nvSpPr>
          <p:spPr bwMode="auto">
            <a:xfrm>
              <a:off x="4972" y="2030"/>
              <a:ext cx="318" cy="98"/>
            </a:xfrm>
            <a:custGeom>
              <a:cxnLst>
                <a:cxn ang="0">
                  <a:pos x="30" y="4"/>
                </a:cxn>
                <a:cxn ang="0">
                  <a:pos x="0" y="17"/>
                </a:cxn>
                <a:cxn ang="0">
                  <a:pos x="30" y="38"/>
                </a:cxn>
                <a:cxn ang="0">
                  <a:pos x="110" y="39"/>
                </a:cxn>
                <a:cxn ang="0">
                  <a:pos x="134" y="26"/>
                </a:cxn>
                <a:cxn ang="0">
                  <a:pos x="112" y="9"/>
                </a:cxn>
                <a:cxn ang="0">
                  <a:pos x="30" y="4"/>
                </a:cxn>
              </a:cxnLst>
              <a:rect b="b" l="0" r="r" t="0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5000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7454" name="Freeform 211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35" name="Group 217"/>
          <p:cNvGrpSpPr/>
          <p:nvPr/>
        </p:nvGrpSpPr>
        <p:grpSpPr>
          <a:xfrm>
            <a:off x="5265738" y="1125538"/>
            <a:ext cx="201612" cy="1052512"/>
            <a:chOff x="4878" y="631"/>
            <a:chExt cx="479" cy="2487"/>
          </a:xfrm>
        </p:grpSpPr>
        <p:sp>
          <p:nvSpPr>
            <p:cNvPr id="200922" name="Freeform 218"/>
            <p:cNvSpPr/>
            <p:nvPr/>
          </p:nvSpPr>
          <p:spPr bwMode="auto">
            <a:xfrm>
              <a:off x="4878" y="631"/>
              <a:ext cx="192" cy="2476"/>
            </a:xfrm>
            <a:custGeom>
              <a:cxnLst>
                <a:cxn ang="0">
                  <a:pos x="68" y="30"/>
                </a:cxn>
                <a:cxn ang="0">
                  <a:pos x="34" y="354"/>
                </a:cxn>
                <a:cxn ang="0">
                  <a:pos x="22" y="449"/>
                </a:cxn>
                <a:cxn ang="0">
                  <a:pos x="22" y="528"/>
                </a:cxn>
                <a:cxn ang="0">
                  <a:pos x="18" y="562"/>
                </a:cxn>
                <a:cxn ang="0">
                  <a:pos x="11" y="729"/>
                </a:cxn>
                <a:cxn ang="0">
                  <a:pos x="11" y="830"/>
                </a:cxn>
                <a:cxn ang="0">
                  <a:pos x="4" y="995"/>
                </a:cxn>
                <a:cxn ang="0">
                  <a:pos x="35" y="1042"/>
                </a:cxn>
                <a:cxn ang="0">
                  <a:pos x="76" y="10"/>
                </a:cxn>
                <a:cxn ang="0">
                  <a:pos x="68" y="30"/>
                </a:cxn>
              </a:cxnLst>
              <a:rect b="b" l="0" r="r" t="0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923" name="Freeform 219"/>
            <p:cNvSpPr/>
            <p:nvPr/>
          </p:nvSpPr>
          <p:spPr bwMode="auto">
            <a:xfrm>
              <a:off x="4923" y="631"/>
              <a:ext cx="434" cy="2487"/>
            </a:xfrm>
            <a:custGeom>
              <a:cxnLst>
                <a:cxn ang="0">
                  <a:pos x="20" y="1046"/>
                </a:cxn>
                <a:cxn ang="0">
                  <a:pos x="2" y="1016"/>
                </a:cxn>
                <a:cxn ang="0">
                  <a:pos x="48" y="30"/>
                </a:cxn>
                <a:cxn ang="0">
                  <a:pos x="79" y="4"/>
                </a:cxn>
                <a:cxn ang="0">
                  <a:pos x="165" y="10"/>
                </a:cxn>
                <a:cxn ang="0">
                  <a:pos x="183" y="30"/>
                </a:cxn>
                <a:cxn ang="0">
                  <a:pos x="132" y="1032"/>
                </a:cxn>
                <a:cxn ang="0">
                  <a:pos x="115" y="1053"/>
                </a:cxn>
                <a:cxn ang="0">
                  <a:pos x="20" y="1046"/>
                </a:cxn>
              </a:cxnLst>
              <a:rect b="b" l="0" r="r" t="0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shade val="62745"/>
                    <a:invGamma/>
                  </a:schemeClr>
                </a:gs>
              </a:gsLst>
              <a:lin ang="2700000" scaled="1"/>
            </a:gradFill>
            <a:ln cap="flat" w="14351">
              <a:noFill/>
              <a:prstDash val="solid"/>
              <a:miter lim="800000"/>
            </a:ln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200924" name="Freeform 220"/>
            <p:cNvSpPr/>
            <p:nvPr/>
          </p:nvSpPr>
          <p:spPr bwMode="auto">
            <a:xfrm>
              <a:off x="4972" y="2030"/>
              <a:ext cx="317" cy="98"/>
            </a:xfrm>
            <a:custGeom>
              <a:cxnLst>
                <a:cxn ang="0">
                  <a:pos x="30" y="4"/>
                </a:cxn>
                <a:cxn ang="0">
                  <a:pos x="0" y="17"/>
                </a:cxn>
                <a:cxn ang="0">
                  <a:pos x="30" y="38"/>
                </a:cxn>
                <a:cxn ang="0">
                  <a:pos x="110" y="39"/>
                </a:cxn>
                <a:cxn ang="0">
                  <a:pos x="134" y="26"/>
                </a:cxn>
                <a:cxn ang="0">
                  <a:pos x="112" y="9"/>
                </a:cxn>
                <a:cxn ang="0">
                  <a:pos x="30" y="4"/>
                </a:cxn>
              </a:cxnLst>
              <a:rect b="b" l="0" r="r" t="0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50000">
                  <a:schemeClr val="bg2">
                    <a:gamma/>
                    <a:shade val="62745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cap="flat" cmpd="sng" w="14351">
              <a:noFill/>
              <a:prstDash val="solid"/>
              <a:miter lim="800000"/>
              <a:headEnd len="med" type="none" w="med"/>
              <a:tailEnd len="med" type="none" w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altLang="en-US" lang="zh-CN">
                <a:latin typeface="Arial"/>
                <a:ea typeface="宋体"/>
                <a:cs typeface="Arial"/>
              </a:endParaRPr>
            </a:p>
          </p:txBody>
        </p:sp>
        <p:sp>
          <p:nvSpPr>
            <p:cNvPr id="17450" name="Freeform 221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36" name="Group 350"/>
          <p:cNvGrpSpPr/>
          <p:nvPr/>
        </p:nvGrpSpPr>
        <p:grpSpPr>
          <a:xfrm flipH="1">
            <a:off x="3355975" y="1130300"/>
            <a:ext cx="201613" cy="1052513"/>
            <a:chOff x="4878" y="631"/>
            <a:chExt cx="479" cy="2487"/>
          </a:xfrm>
        </p:grpSpPr>
        <p:sp>
          <p:nvSpPr>
            <p:cNvPr id="17443" name="Freeform 351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4" name="Freeform 352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5" name="Freeform 353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6" name="Freeform 354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grpSp>
        <p:nvGrpSpPr>
          <p:cNvPr id="17437" name="Group 355"/>
          <p:cNvGrpSpPr/>
          <p:nvPr/>
        </p:nvGrpSpPr>
        <p:grpSpPr>
          <a:xfrm flipH="1">
            <a:off x="6592888" y="1130300"/>
            <a:ext cx="201612" cy="1052513"/>
            <a:chOff x="4878" y="631"/>
            <a:chExt cx="479" cy="2487"/>
          </a:xfrm>
        </p:grpSpPr>
        <p:sp>
          <p:nvSpPr>
            <p:cNvPr id="17439" name="Freeform 356"/>
            <p:cNvSpPr/>
            <p:nvPr/>
          </p:nvSpPr>
          <p:spPr bwMode="auto">
            <a:xfrm>
              <a:off x="4878" y="631"/>
              <a:ext cx="193" cy="2477"/>
            </a:xfrm>
            <a:custGeom>
              <a:gdLst>
                <a:gd fmla="*/ 377 w 82" name="T0"/>
                <a:gd fmla="*/ 168 h 1049" name="T1"/>
                <a:gd fmla="*/ 188 w 82" name="T2"/>
                <a:gd fmla="*/ 1974 h 1049" name="T3"/>
                <a:gd fmla="*/ 122 w 82" name="T4"/>
                <a:gd fmla="*/ 2503 h 1049" name="T5"/>
                <a:gd fmla="*/ 122 w 82" name="T6"/>
                <a:gd fmla="*/ 2945 h 1049" name="T7"/>
                <a:gd fmla="*/ 99 w 82" name="T8"/>
                <a:gd fmla="*/ 3133 h 1049" name="T9"/>
                <a:gd fmla="*/ 61 w 82" name="T10"/>
                <a:gd fmla="*/ 4064 h 1049" name="T11"/>
                <a:gd fmla="*/ 61 w 82" name="T12"/>
                <a:gd fmla="*/ 4628 h 1049" name="T13"/>
                <a:gd fmla="*/ 21 w 82" name="T14"/>
                <a:gd fmla="*/ 5547 h 1049" name="T15"/>
                <a:gd fmla="*/ 193 w 82" name="T16"/>
                <a:gd fmla="*/ 5809 h 1049" name="T17"/>
                <a:gd fmla="*/ 421 w 82" name="T18"/>
                <a:gd fmla="*/ 57 h 1049" name="T19"/>
                <a:gd fmla="*/ 377 w 82" name="T20"/>
                <a:gd fmla="*/ 168 h 1049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60000 65536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w 82" name="T33"/>
                <a:gd fmla="*/ 0 h 1049" name="T34"/>
                <a:gd fmla="*/ 82 w 82" name="T35"/>
                <a:gd fmla="*/ 1049 h 1049" name="T36"/>
              </a:gdLst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b="T36" l="T33" r="T35" t="T34"/>
              <a:pathLst>
                <a:path h="1049" w="82">
                  <a:moveTo>
                    <a:pt x="68" y="30"/>
                  </a:moveTo>
                  <a:cubicBezTo>
                    <a:pt x="54" y="56"/>
                    <a:pt x="34" y="318"/>
                    <a:pt x="34" y="354"/>
                  </a:cubicBezTo>
                  <a:cubicBezTo>
                    <a:pt x="34" y="388"/>
                    <a:pt x="22" y="425"/>
                    <a:pt x="22" y="449"/>
                  </a:cubicBezTo>
                  <a:cubicBezTo>
                    <a:pt x="21" y="472"/>
                    <a:pt x="14" y="512"/>
                    <a:pt x="22" y="528"/>
                  </a:cubicBezTo>
                  <a:cubicBezTo>
                    <a:pt x="30" y="544"/>
                    <a:pt x="19" y="545"/>
                    <a:pt x="18" y="562"/>
                  </a:cubicBezTo>
                  <a:cubicBezTo>
                    <a:pt x="17" y="579"/>
                    <a:pt x="10" y="718"/>
                    <a:pt x="11" y="729"/>
                  </a:cubicBezTo>
                  <a:cubicBezTo>
                    <a:pt x="13" y="741"/>
                    <a:pt x="19" y="798"/>
                    <a:pt x="11" y="830"/>
                  </a:cubicBezTo>
                  <a:cubicBezTo>
                    <a:pt x="3" y="863"/>
                    <a:pt x="0" y="975"/>
                    <a:pt x="4" y="995"/>
                  </a:cubicBezTo>
                  <a:cubicBezTo>
                    <a:pt x="9" y="1014"/>
                    <a:pt x="12" y="1036"/>
                    <a:pt x="35" y="1042"/>
                  </a:cubicBezTo>
                  <a:cubicBezTo>
                    <a:pt x="58" y="1049"/>
                    <a:pt x="82" y="0"/>
                    <a:pt x="76" y="10"/>
                  </a:cubicBezTo>
                  <a:cubicBezTo>
                    <a:pt x="71" y="21"/>
                    <a:pt x="68" y="30"/>
                    <a:pt x="68" y="30"/>
                  </a:cubicBezTo>
                  <a:close/>
                </a:path>
              </a:pathLst>
            </a:custGeom>
            <a:gradFill rotWithShape="1">
              <a:gsLst>
                <a:gs pos="0">
                  <a:srgbClr val="9F6801"/>
                </a:gs>
                <a:gs pos="100000">
                  <a:srgbClr val="FEA50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0" name="Freeform 357"/>
            <p:cNvSpPr/>
            <p:nvPr/>
          </p:nvSpPr>
          <p:spPr bwMode="auto">
            <a:xfrm>
              <a:off x="4925" y="631"/>
              <a:ext cx="432" cy="2487"/>
            </a:xfrm>
            <a:custGeom>
              <a:gdLst>
                <a:gd fmla="*/ 111 w 183" name="T0"/>
                <a:gd fmla="*/ 5834 h 1053" name="T1"/>
                <a:gd fmla="*/ 12 w 183" name="T2"/>
                <a:gd fmla="*/ 5668 h 1053" name="T3"/>
                <a:gd fmla="*/ 267 w 183" name="T4"/>
                <a:gd fmla="*/ 168 h 1053" name="T5"/>
                <a:gd fmla="*/ 439 w 183" name="T6"/>
                <a:gd fmla="*/ 21 h 1053" name="T7"/>
                <a:gd fmla="*/ 921 w 183" name="T8"/>
                <a:gd fmla="*/ 57 h 1053" name="T9"/>
                <a:gd fmla="*/ 1020 w 183" name="T10"/>
                <a:gd fmla="*/ 168 h 1053" name="T11"/>
                <a:gd fmla="*/ 737 w 183" name="T12"/>
                <a:gd fmla="*/ 5756 h 1053" name="T13"/>
                <a:gd fmla="*/ 640 w 183" name="T14"/>
                <a:gd fmla="*/ 5874 h 1053" name="T15"/>
                <a:gd fmla="*/ 111 w 183" name="T16"/>
                <a:gd fmla="*/ 5834 h 1053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183" name="T27"/>
                <a:gd fmla="*/ 0 h 1053" name="T28"/>
                <a:gd fmla="*/ 183 w 183" name="T29"/>
                <a:gd fmla="*/ 1053 h 1053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1053" w="183">
                  <a:moveTo>
                    <a:pt x="20" y="1046"/>
                  </a:moveTo>
                  <a:cubicBezTo>
                    <a:pt x="12" y="1041"/>
                    <a:pt x="0" y="1030"/>
                    <a:pt x="2" y="1016"/>
                  </a:cubicBezTo>
                  <a:cubicBezTo>
                    <a:pt x="3" y="1003"/>
                    <a:pt x="43" y="43"/>
                    <a:pt x="48" y="30"/>
                  </a:cubicBezTo>
                  <a:cubicBezTo>
                    <a:pt x="53" y="16"/>
                    <a:pt x="56" y="0"/>
                    <a:pt x="79" y="4"/>
                  </a:cubicBezTo>
                  <a:cubicBezTo>
                    <a:pt x="102" y="7"/>
                    <a:pt x="154" y="10"/>
                    <a:pt x="165" y="10"/>
                  </a:cubicBezTo>
                  <a:cubicBezTo>
                    <a:pt x="175" y="10"/>
                    <a:pt x="183" y="13"/>
                    <a:pt x="183" y="30"/>
                  </a:cubicBezTo>
                  <a:cubicBezTo>
                    <a:pt x="183" y="47"/>
                    <a:pt x="135" y="1010"/>
                    <a:pt x="132" y="1032"/>
                  </a:cubicBezTo>
                  <a:cubicBezTo>
                    <a:pt x="129" y="1053"/>
                    <a:pt x="125" y="1053"/>
                    <a:pt x="115" y="1053"/>
                  </a:cubicBezTo>
                  <a:cubicBezTo>
                    <a:pt x="106" y="1053"/>
                    <a:pt x="29" y="1051"/>
                    <a:pt x="20" y="1046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100000">
                  <a:srgbClr val="9F680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1" name="Freeform 358"/>
            <p:cNvSpPr/>
            <p:nvPr/>
          </p:nvSpPr>
          <p:spPr bwMode="auto">
            <a:xfrm>
              <a:off x="4972" y="2031"/>
              <a:ext cx="317" cy="95"/>
            </a:xfrm>
            <a:custGeom>
              <a:gdLst>
                <a:gd fmla="*/ 168 w 134" name="T0"/>
                <a:gd fmla="*/ 24 h 40" name="T1"/>
                <a:gd fmla="*/ 0 w 134" name="T2"/>
                <a:gd fmla="*/ 95 h 40" name="T3"/>
                <a:gd fmla="*/ 168 w 134" name="T4"/>
                <a:gd fmla="*/ 214 h 40" name="T5"/>
                <a:gd fmla="*/ 615 w 134" name="T6"/>
                <a:gd fmla="*/ 221 h 40" name="T7"/>
                <a:gd fmla="*/ 750 w 134" name="T8"/>
                <a:gd fmla="*/ 147 h 40" name="T9"/>
                <a:gd fmla="*/ 627 w 134" name="T10"/>
                <a:gd fmla="*/ 50 h 40" name="T11"/>
                <a:gd fmla="*/ 168 w 134" name="T12"/>
                <a:gd fmla="*/ 24 h 40" name="T13"/>
                <a:gd fmla="*/ 0 60000 65536" name="T14"/>
                <a:gd fmla="*/ 0 60000 65536" name="T15"/>
                <a:gd fmla="*/ 0 60000 65536" name="T16"/>
                <a:gd fmla="*/ 0 60000 65536" name="T17"/>
                <a:gd fmla="*/ 0 60000 65536" name="T18"/>
                <a:gd fmla="*/ 0 60000 65536" name="T19"/>
                <a:gd fmla="*/ 0 60000 65536" name="T20"/>
                <a:gd fmla="*/ 0 w 134" name="T21"/>
                <a:gd fmla="*/ 0 h 40" name="T22"/>
                <a:gd fmla="*/ 134 w 134" name="T23"/>
                <a:gd fmla="*/ 40 h 40" name="T24"/>
              </a:gdLst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b="T24" l="T21" r="T23" t="T22"/>
              <a:pathLst>
                <a:path h="40" w="134">
                  <a:moveTo>
                    <a:pt x="30" y="4"/>
                  </a:moveTo>
                  <a:cubicBezTo>
                    <a:pt x="18" y="4"/>
                    <a:pt x="0" y="0"/>
                    <a:pt x="0" y="17"/>
                  </a:cubicBezTo>
                  <a:cubicBezTo>
                    <a:pt x="0" y="34"/>
                    <a:pt x="19" y="38"/>
                    <a:pt x="30" y="38"/>
                  </a:cubicBezTo>
                  <a:cubicBezTo>
                    <a:pt x="41" y="39"/>
                    <a:pt x="103" y="38"/>
                    <a:pt x="110" y="39"/>
                  </a:cubicBezTo>
                  <a:cubicBezTo>
                    <a:pt x="127" y="40"/>
                    <a:pt x="134" y="35"/>
                    <a:pt x="134" y="26"/>
                  </a:cubicBezTo>
                  <a:cubicBezTo>
                    <a:pt x="134" y="16"/>
                    <a:pt x="131" y="10"/>
                    <a:pt x="112" y="9"/>
                  </a:cubicBezTo>
                  <a:cubicBezTo>
                    <a:pt x="103" y="9"/>
                    <a:pt x="44" y="5"/>
                    <a:pt x="30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EA501"/>
                </a:gs>
                <a:gs pos="50000">
                  <a:srgbClr val="9F6801"/>
                </a:gs>
                <a:gs pos="100000">
                  <a:srgbClr val="FEA50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sp>
          <p:nvSpPr>
            <p:cNvPr id="17442" name="Freeform 359"/>
            <p:cNvSpPr/>
            <p:nvPr/>
          </p:nvSpPr>
          <p:spPr bwMode="auto">
            <a:xfrm>
              <a:off x="4979" y="1852"/>
              <a:ext cx="345" cy="259"/>
            </a:xfrm>
            <a:custGeom>
              <a:gdLst>
                <a:gd fmla="*/ 647 w 146" name="T0"/>
                <a:gd fmla="*/ 610 h 110" name="T1"/>
                <a:gd fmla="*/ 33 w 146" name="T2"/>
                <a:gd fmla="*/ 565 h 110" name="T3"/>
                <a:gd fmla="*/ 0 w 146" name="T4"/>
                <a:gd fmla="*/ 532 h 110" name="T5"/>
                <a:gd fmla="*/ 40 w 146" name="T6"/>
                <a:gd fmla="*/ 499 h 110" name="T7"/>
                <a:gd fmla="*/ 647 w 146" name="T8"/>
                <a:gd fmla="*/ 544 h 110" name="T9"/>
                <a:gd fmla="*/ 742 w 146" name="T10"/>
                <a:gd fmla="*/ 516 h 110" name="T11"/>
                <a:gd fmla="*/ 749 w 146" name="T12"/>
                <a:gd fmla="*/ 504 h 110" name="T13"/>
                <a:gd fmla="*/ 742 w 146" name="T14"/>
                <a:gd fmla="*/ 438 h 110" name="T15"/>
                <a:gd fmla="*/ 742 w 146" name="T16"/>
                <a:gd fmla="*/ 426 h 110" name="T17"/>
                <a:gd fmla="*/ 759 w 146" name="T18"/>
                <a:gd fmla="*/ 0 h 110" name="T19"/>
                <a:gd fmla="*/ 811 w 146" name="T20"/>
                <a:gd fmla="*/ 433 h 110" name="T21"/>
                <a:gd fmla="*/ 815 w 146" name="T22"/>
                <a:gd fmla="*/ 494 h 110" name="T23"/>
                <a:gd fmla="*/ 794 w 146" name="T24"/>
                <a:gd fmla="*/ 553 h 110" name="T25"/>
                <a:gd fmla="*/ 647 w 146" name="T26"/>
                <a:gd fmla="*/ 610 h 110" name="T27"/>
                <a:gd fmla="*/ 0 60000 65536" name="T28"/>
                <a:gd fmla="*/ 0 60000 65536" name="T29"/>
                <a:gd fmla="*/ 0 60000 65536" name="T30"/>
                <a:gd fmla="*/ 0 60000 65536" name="T31"/>
                <a:gd fmla="*/ 0 60000 65536" name="T32"/>
                <a:gd fmla="*/ 0 60000 65536" name="T33"/>
                <a:gd fmla="*/ 0 60000 65536" name="T34"/>
                <a:gd fmla="*/ 0 60000 65536" name="T35"/>
                <a:gd fmla="*/ 0 60000 65536" name="T36"/>
                <a:gd fmla="*/ 0 60000 65536" name="T37"/>
                <a:gd fmla="*/ 0 60000 65536" name="T38"/>
                <a:gd fmla="*/ 0 60000 65536" name="T39"/>
                <a:gd fmla="*/ 0 60000 65536" name="T40"/>
                <a:gd fmla="*/ 0 60000 65536" name="T41"/>
                <a:gd fmla="*/ 0 w 146" name="T42"/>
                <a:gd fmla="*/ 0 h 110" name="T43"/>
                <a:gd fmla="*/ 146 w 146" name="T44"/>
                <a:gd fmla="*/ 110 h 110" name="T45"/>
              </a:gdLst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b="T45" l="T42" r="T44" t="T43"/>
              <a:pathLst>
                <a:path h="110" w="146">
                  <a:moveTo>
                    <a:pt x="116" y="110"/>
                  </a:moveTo>
                  <a:cubicBezTo>
                    <a:pt x="103" y="110"/>
                    <a:pt x="10" y="103"/>
                    <a:pt x="6" y="102"/>
                  </a:cubicBezTo>
                  <a:cubicBezTo>
                    <a:pt x="2" y="102"/>
                    <a:pt x="0" y="99"/>
                    <a:pt x="0" y="96"/>
                  </a:cubicBezTo>
                  <a:cubicBezTo>
                    <a:pt x="1" y="92"/>
                    <a:pt x="3" y="90"/>
                    <a:pt x="7" y="90"/>
                  </a:cubicBezTo>
                  <a:cubicBezTo>
                    <a:pt x="8" y="90"/>
                    <a:pt x="104" y="98"/>
                    <a:pt x="116" y="98"/>
                  </a:cubicBezTo>
                  <a:cubicBezTo>
                    <a:pt x="123" y="98"/>
                    <a:pt x="130" y="95"/>
                    <a:pt x="133" y="93"/>
                  </a:cubicBezTo>
                  <a:cubicBezTo>
                    <a:pt x="134" y="92"/>
                    <a:pt x="134" y="91"/>
                    <a:pt x="134" y="91"/>
                  </a:cubicBezTo>
                  <a:cubicBezTo>
                    <a:pt x="134" y="90"/>
                    <a:pt x="133" y="85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0" y="26"/>
                    <a:pt x="143" y="60"/>
                    <a:pt x="145" y="78"/>
                  </a:cubicBezTo>
                  <a:cubicBezTo>
                    <a:pt x="145" y="84"/>
                    <a:pt x="146" y="88"/>
                    <a:pt x="146" y="89"/>
                  </a:cubicBezTo>
                  <a:cubicBezTo>
                    <a:pt x="146" y="92"/>
                    <a:pt x="146" y="96"/>
                    <a:pt x="142" y="100"/>
                  </a:cubicBezTo>
                  <a:cubicBezTo>
                    <a:pt x="137" y="106"/>
                    <a:pt x="126" y="110"/>
                    <a:pt x="116" y="110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</p:grpSp>
      <p:sp>
        <p:nvSpPr>
          <p:cNvPr id="17438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lang="zh-CN" smtClean="0">
              <a:ea charset="-122" panose="02010600030101010101" pitchFamily="2" typeface="宋体"/>
            </a:endParaRPr>
          </a:p>
        </p:txBody>
      </p:sp>
    </p:spTree>
  </p:cSld>
  <p:clrMapOvr>
    <a:masterClrMapping/>
  </p:clrMapOvr>
  <p:transition/>
  <p:timing/>
</p:sld>
</file>

<file path=ppt/slides/slide3.xml><?xml version="1.0" encoding="utf-8"?>
<p:sld xmlns:a="http://schemas.openxmlformats.org/drawingml/2006/main" xmlns:a14="http://schemas.microsoft.com/office/drawing/2010/main" xmlns:m="http://schemas.openxmlformats.org/officeDocument/2006/math" xmlns:mc="http://schemas.openxmlformats.org/markup-compatibility/2006" xmlns:p="http://schemas.openxmlformats.org/presentationml/2006/main" xmlns:p14="http://schemas.microsoft.com/office/powerpoint/2010/main" xmlns:p15="http://schemas.microsoft.com/office/powerpoint/2012/main" xmlns:p159="http://schemas.microsoft.com/office/powerpoint/2015/09/main" xmlns:r="http://schemas.openxmlformats.org/officeDocument/2006/relationships" xmlns:w="http://schemas.openxmlformats.org/wordprocessingml/2006/main" xmlns:wp="http://schemas.openxmlformats.org/drawingml/2006/wordprocessingDrawing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9458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0" lIns="0" rIns="0" tIns="0"/>
          <a:lstStyle>
            <a:lvl1pPr defTabSz="801688">
              <a:spcBef>
                <a:spcPct val="20000"/>
              </a:spcBef>
              <a:buFont charset="2" panose="05000000000000000000" pitchFamily="2" typeface="Wingdings"/>
              <a:buChar char="§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1pPr>
            <a:lvl2pPr defTabSz="801688" indent="-285750" marL="7429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2pPr>
            <a:lvl3pPr defTabSz="801688" indent="-228600" marL="11430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3pPr>
            <a:lvl4pPr defTabSz="801688" indent="-228600" marL="16002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4pPr>
            <a:lvl5pPr defTabSz="801688" indent="-228600" marL="20574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5pPr>
            <a:lvl6pPr defTabSz="801688" eaLnBrk="0" fontAlgn="base" hangingPunct="0" indent="-228600" marL="25146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6pPr>
            <a:lvl7pPr defTabSz="801688" eaLnBrk="0" fontAlgn="base" hangingPunct="0" indent="-228600" marL="29718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7pPr>
            <a:lvl8pPr defTabSz="801688" eaLnBrk="0" fontAlgn="base" hangingPunct="0" indent="-228600" marL="34290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8pPr>
            <a:lvl9pPr defTabSz="801688" eaLnBrk="0" fontAlgn="base" hangingPunct="0" indent="-228600" marL="38862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altLang="zh-CN" lang="en-GB">
              <a:ea charset="-122" panose="02010600030101010101" pitchFamily="2" typeface="宋体"/>
            </a:endParaRPr>
          </a:p>
        </p:txBody>
      </p:sp>
      <p:grpSp>
        <p:nvGrpSpPr>
          <p:cNvPr id="19459" name="Group 99"/>
          <p:cNvGrpSpPr/>
          <p:nvPr/>
        </p:nvGrpSpPr>
        <p:grpSpPr>
          <a:xfrm>
            <a:off x="603250" y="1893888"/>
            <a:ext cx="3390900" cy="2978150"/>
            <a:chOff x="380" y="1193"/>
            <a:chExt cx="2136" cy="1876"/>
          </a:xfrm>
        </p:grpSpPr>
        <p:sp>
          <p:nvSpPr>
            <p:cNvPr id="19478" name="Rectangle 10"/>
            <p:cNvSpPr>
              <a:spLocks noChangeArrowheads="1"/>
            </p:cNvSpPr>
            <p:nvPr/>
          </p:nvSpPr>
          <p:spPr bwMode="gray">
            <a:xfrm rot="-547875">
              <a:off x="380" y="1193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2541" name="Text Box 29"/>
            <p:cNvSpPr txBox="1">
              <a:spLocks noChangeArrowheads="1"/>
            </p:cNvSpPr>
            <p:nvPr/>
          </p:nvSpPr>
          <p:spPr bwMode="auto">
            <a:xfrm rot="-547875">
              <a:off x="427" y="1252"/>
              <a:ext cx="1944" cy="1444"/>
            </a:xfrm>
            <a:prstGeom prst="rect">
              <a:avLst/>
            </a:prstGeom>
            <a:blipFill dpi="0" rotWithShape="1">
              <a:blip r:embed="rId3"/>
              <a:stretch>
                <a:fillRect b="-970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9482" name="Rectangle 9"/>
            <p:cNvSpPr>
              <a:spLocks noChangeArrowheads="1"/>
            </p:cNvSpPr>
            <p:nvPr/>
          </p:nvSpPr>
          <p:spPr bwMode="gray">
            <a:xfrm rot="-547875">
              <a:off x="572" y="2746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600">
                  <a:ea charset="-122" panose="02010600030101010101" pitchFamily="2" typeface="宋体"/>
                </a:rPr>
                <a:t>This text can be </a:t>
              </a:r>
              <a:br>
                <a:rPr altLang="zh-CN" lang="en-US" sz="1600">
                  <a:ea charset="-122" panose="02010600030101010101" pitchFamily="2" typeface="宋体"/>
                </a:rPr>
              </a:br>
              <a:r>
                <a:rPr altLang="zh-CN" lang="en-US" sz="16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9460" name="Group 98"/>
          <p:cNvGrpSpPr/>
          <p:nvPr/>
        </p:nvGrpSpPr>
        <p:grpSpPr>
          <a:xfrm>
            <a:off x="4956175" y="2262188"/>
            <a:ext cx="3375025" cy="2978150"/>
            <a:chOff x="3122" y="1425"/>
            <a:chExt cx="2126" cy="1876"/>
          </a:xfrm>
        </p:grpSpPr>
        <p:sp>
          <p:nvSpPr>
            <p:cNvPr id="19473" name="Rectangle 10"/>
            <p:cNvSpPr>
              <a:spLocks noChangeArrowheads="1"/>
            </p:cNvSpPr>
            <p:nvPr/>
          </p:nvSpPr>
          <p:spPr bwMode="gray">
            <a:xfrm rot="509545">
              <a:off x="3160" y="1425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2545" name="Text Box 33"/>
            <p:cNvSpPr txBox="1">
              <a:spLocks noChangeArrowheads="1"/>
            </p:cNvSpPr>
            <p:nvPr/>
          </p:nvSpPr>
          <p:spPr bwMode="auto">
            <a:xfrm rot="509545">
              <a:off x="3256" y="1484"/>
              <a:ext cx="1944" cy="1444"/>
            </a:xfrm>
            <a:prstGeom prst="rect">
              <a:avLst/>
            </a:prstGeom>
            <a:blipFill dpi="0" rotWithShape="1">
              <a:blip r:embed="rId4"/>
              <a:stretch>
                <a:fillRect r="-29266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19477" name="Rectangle 9"/>
            <p:cNvSpPr>
              <a:spLocks noChangeArrowheads="1"/>
            </p:cNvSpPr>
            <p:nvPr/>
          </p:nvSpPr>
          <p:spPr bwMode="gray">
            <a:xfrm rot="509545">
              <a:off x="3122" y="2979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lang="en-US" sz="1600">
                  <a:ea charset="-122" panose="02010600030101010101" pitchFamily="2" typeface="宋体"/>
                </a:rPr>
                <a:t>This text can be </a:t>
              </a:r>
              <a:br>
                <a:rPr altLang="zh-CN" lang="en-US" sz="1600">
                  <a:ea charset="-122" panose="02010600030101010101" pitchFamily="2" typeface="宋体"/>
                </a:rPr>
              </a:br>
              <a:r>
                <a:rPr altLang="zh-CN" lang="en-US" sz="1600">
                  <a:ea charset="-122" panose="02010600030101010101" pitchFamily="2" typeface="宋体"/>
                </a:rPr>
                <a:t>replaced with your text.</a:t>
              </a:r>
            </a:p>
          </p:txBody>
        </p:sp>
      </p:grpSp>
      <p:grpSp>
        <p:nvGrpSpPr>
          <p:cNvPr id="19461" name="Group 71"/>
          <p:cNvGrpSpPr/>
          <p:nvPr/>
        </p:nvGrpSpPr>
        <p:grpSpPr>
          <a:xfrm>
            <a:off x="3435350" y="1147763"/>
            <a:ext cx="636588" cy="617537"/>
            <a:chOff x="1548" y="1653"/>
            <a:chExt cx="802" cy="777"/>
          </a:xfrm>
        </p:grpSpPr>
        <p:sp>
          <p:nvSpPr>
            <p:cNvPr id="19471" name="Freeform 72"/>
            <p:cNvSpPr/>
            <p:nvPr/>
          </p:nvSpPr>
          <p:spPr bwMode="auto">
            <a:xfrm>
              <a:off x="1681" y="2140"/>
              <a:ext cx="669" cy="290"/>
            </a:xfrm>
            <a:custGeom>
              <a:gdLst>
                <a:gd fmla="*/ 492 w 669" name="T0"/>
                <a:gd fmla="*/ 0 h 290" name="T1"/>
                <a:gd fmla="*/ 195 w 669" name="T2"/>
                <a:gd fmla="*/ 78 h 290" name="T3"/>
                <a:gd fmla="*/ 245 w 669" name="T4"/>
                <a:gd fmla="*/ 148 h 290" name="T5"/>
                <a:gd fmla="*/ 5 w 669" name="T6"/>
                <a:gd fmla="*/ 261 h 290" name="T7"/>
                <a:gd fmla="*/ 48 w 669" name="T8"/>
                <a:gd fmla="*/ 272 h 290" name="T9"/>
                <a:gd fmla="*/ 294 w 669" name="T10"/>
                <a:gd fmla="*/ 154 h 290" name="T11"/>
                <a:gd fmla="*/ 327 w 669" name="T12"/>
                <a:gd fmla="*/ 155 h 290" name="T13"/>
                <a:gd fmla="*/ 624 w 669" name="T14"/>
                <a:gd fmla="*/ 78 h 290" name="T15"/>
                <a:gd fmla="*/ 492 w 669" name="T16"/>
                <a:gd fmla="*/ 0 h 290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669" name="T27"/>
                <a:gd fmla="*/ 0 h 290" name="T28"/>
                <a:gd fmla="*/ 669 w 669" name="T29"/>
                <a:gd fmla="*/ 290 h 290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290" w="669">
                  <a:moveTo>
                    <a:pt x="492" y="0"/>
                  </a:moveTo>
                  <a:cubicBezTo>
                    <a:pt x="373" y="0"/>
                    <a:pt x="240" y="35"/>
                    <a:pt x="195" y="78"/>
                  </a:cubicBezTo>
                  <a:cubicBezTo>
                    <a:pt x="162" y="109"/>
                    <a:pt x="184" y="136"/>
                    <a:pt x="245" y="148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9" y="284"/>
                    <a:pt x="0" y="290"/>
                    <a:pt x="48" y="272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304" y="155"/>
                    <a:pt x="315" y="155"/>
                    <a:pt x="327" y="155"/>
                  </a:cubicBezTo>
                  <a:cubicBezTo>
                    <a:pt x="445" y="155"/>
                    <a:pt x="578" y="120"/>
                    <a:pt x="624" y="78"/>
                  </a:cubicBezTo>
                  <a:cubicBezTo>
                    <a:pt x="669" y="35"/>
                    <a:pt x="610" y="0"/>
                    <a:pt x="492" y="0"/>
                  </a:cubicBezTo>
                  <a:close/>
                </a:path>
              </a:pathLst>
            </a:cu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pic>
          <p:nvPicPr>
            <p:cNvPr descr="grau" id="19472" name="Picture 73"/>
            <p:cNvPicPr>
              <a:picLocks noChangeArrowheads="1"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val="0"/>
                </a:ext>
              </a:extLst>
            </a:blip>
            <a:srcRect b="16612"/>
            <a:stretch>
              <a:fillRect/>
            </a:stretch>
          </p:blipFill>
          <p:spPr bwMode="auto">
            <a:xfrm>
              <a:off x="1548" y="1653"/>
              <a:ext cx="576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62" name="Group 74"/>
          <p:cNvGrpSpPr/>
          <p:nvPr/>
        </p:nvGrpSpPr>
        <p:grpSpPr>
          <a:xfrm>
            <a:off x="368300" y="1635125"/>
            <a:ext cx="636588" cy="617538"/>
            <a:chOff x="1548" y="1653"/>
            <a:chExt cx="802" cy="777"/>
          </a:xfrm>
        </p:grpSpPr>
        <p:sp>
          <p:nvSpPr>
            <p:cNvPr id="19469" name="Freeform 75"/>
            <p:cNvSpPr/>
            <p:nvPr/>
          </p:nvSpPr>
          <p:spPr bwMode="auto">
            <a:xfrm>
              <a:off x="1681" y="2140"/>
              <a:ext cx="669" cy="290"/>
            </a:xfrm>
            <a:custGeom>
              <a:gdLst>
                <a:gd fmla="*/ 492 w 669" name="T0"/>
                <a:gd fmla="*/ 0 h 290" name="T1"/>
                <a:gd fmla="*/ 195 w 669" name="T2"/>
                <a:gd fmla="*/ 78 h 290" name="T3"/>
                <a:gd fmla="*/ 245 w 669" name="T4"/>
                <a:gd fmla="*/ 148 h 290" name="T5"/>
                <a:gd fmla="*/ 5 w 669" name="T6"/>
                <a:gd fmla="*/ 261 h 290" name="T7"/>
                <a:gd fmla="*/ 48 w 669" name="T8"/>
                <a:gd fmla="*/ 272 h 290" name="T9"/>
                <a:gd fmla="*/ 294 w 669" name="T10"/>
                <a:gd fmla="*/ 154 h 290" name="T11"/>
                <a:gd fmla="*/ 327 w 669" name="T12"/>
                <a:gd fmla="*/ 155 h 290" name="T13"/>
                <a:gd fmla="*/ 624 w 669" name="T14"/>
                <a:gd fmla="*/ 78 h 290" name="T15"/>
                <a:gd fmla="*/ 492 w 669" name="T16"/>
                <a:gd fmla="*/ 0 h 290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669" name="T27"/>
                <a:gd fmla="*/ 0 h 290" name="T28"/>
                <a:gd fmla="*/ 669 w 669" name="T29"/>
                <a:gd fmla="*/ 290 h 290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290" w="669">
                  <a:moveTo>
                    <a:pt x="492" y="0"/>
                  </a:moveTo>
                  <a:cubicBezTo>
                    <a:pt x="373" y="0"/>
                    <a:pt x="240" y="35"/>
                    <a:pt x="195" y="78"/>
                  </a:cubicBezTo>
                  <a:cubicBezTo>
                    <a:pt x="162" y="109"/>
                    <a:pt x="184" y="136"/>
                    <a:pt x="245" y="148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9" y="284"/>
                    <a:pt x="0" y="290"/>
                    <a:pt x="48" y="272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304" y="155"/>
                    <a:pt x="315" y="155"/>
                    <a:pt x="327" y="155"/>
                  </a:cubicBezTo>
                  <a:cubicBezTo>
                    <a:pt x="445" y="155"/>
                    <a:pt x="578" y="120"/>
                    <a:pt x="624" y="78"/>
                  </a:cubicBezTo>
                  <a:cubicBezTo>
                    <a:pt x="669" y="35"/>
                    <a:pt x="610" y="0"/>
                    <a:pt x="492" y="0"/>
                  </a:cubicBezTo>
                  <a:close/>
                </a:path>
              </a:pathLst>
            </a:cu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pic>
          <p:nvPicPr>
            <p:cNvPr descr="grau" id="19470" name="Picture 76"/>
            <p:cNvPicPr>
              <a:picLocks noChangeArrowheads="1"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val="0"/>
                </a:ext>
              </a:extLst>
            </a:blip>
            <a:srcRect b="16612"/>
            <a:stretch>
              <a:fillRect/>
            </a:stretch>
          </p:blipFill>
          <p:spPr bwMode="auto">
            <a:xfrm>
              <a:off x="1548" y="1653"/>
              <a:ext cx="576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63" name="Group 92"/>
          <p:cNvGrpSpPr/>
          <p:nvPr/>
        </p:nvGrpSpPr>
        <p:grpSpPr>
          <a:xfrm>
            <a:off x="5219700" y="1584325"/>
            <a:ext cx="636588" cy="617538"/>
            <a:chOff x="2603" y="538"/>
            <a:chExt cx="804" cy="775"/>
          </a:xfrm>
        </p:grpSpPr>
        <p:sp>
          <p:nvSpPr>
            <p:cNvPr id="19467" name="Freeform 93"/>
            <p:cNvSpPr/>
            <p:nvPr/>
          </p:nvSpPr>
          <p:spPr bwMode="auto">
            <a:xfrm>
              <a:off x="2738" y="1023"/>
              <a:ext cx="669" cy="290"/>
            </a:xfrm>
            <a:custGeom>
              <a:gdLst>
                <a:gd fmla="*/ 492 w 669" name="T0"/>
                <a:gd fmla="*/ 0 h 290" name="T1"/>
                <a:gd fmla="*/ 195 w 669" name="T2"/>
                <a:gd fmla="*/ 78 h 290" name="T3"/>
                <a:gd fmla="*/ 245 w 669" name="T4"/>
                <a:gd fmla="*/ 148 h 290" name="T5"/>
                <a:gd fmla="*/ 5 w 669" name="T6"/>
                <a:gd fmla="*/ 261 h 290" name="T7"/>
                <a:gd fmla="*/ 48 w 669" name="T8"/>
                <a:gd fmla="*/ 272 h 290" name="T9"/>
                <a:gd fmla="*/ 294 w 669" name="T10"/>
                <a:gd fmla="*/ 154 h 290" name="T11"/>
                <a:gd fmla="*/ 327 w 669" name="T12"/>
                <a:gd fmla="*/ 155 h 290" name="T13"/>
                <a:gd fmla="*/ 624 w 669" name="T14"/>
                <a:gd fmla="*/ 78 h 290" name="T15"/>
                <a:gd fmla="*/ 492 w 669" name="T16"/>
                <a:gd fmla="*/ 0 h 290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669" name="T27"/>
                <a:gd fmla="*/ 0 h 290" name="T28"/>
                <a:gd fmla="*/ 669 w 669" name="T29"/>
                <a:gd fmla="*/ 290 h 290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290" w="669">
                  <a:moveTo>
                    <a:pt x="492" y="0"/>
                  </a:moveTo>
                  <a:cubicBezTo>
                    <a:pt x="373" y="0"/>
                    <a:pt x="240" y="35"/>
                    <a:pt x="195" y="78"/>
                  </a:cubicBezTo>
                  <a:cubicBezTo>
                    <a:pt x="162" y="109"/>
                    <a:pt x="184" y="136"/>
                    <a:pt x="245" y="148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9" y="284"/>
                    <a:pt x="0" y="290"/>
                    <a:pt x="48" y="272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304" y="155"/>
                    <a:pt x="315" y="155"/>
                    <a:pt x="327" y="155"/>
                  </a:cubicBezTo>
                  <a:cubicBezTo>
                    <a:pt x="445" y="155"/>
                    <a:pt x="578" y="120"/>
                    <a:pt x="624" y="78"/>
                  </a:cubicBezTo>
                  <a:cubicBezTo>
                    <a:pt x="669" y="35"/>
                    <a:pt x="610" y="0"/>
                    <a:pt x="492" y="0"/>
                  </a:cubicBezTo>
                  <a:close/>
                </a:path>
              </a:pathLst>
            </a:cu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pic>
          <p:nvPicPr>
            <p:cNvPr descr="rot" id="19468" name="Picture 94"/>
            <p:cNvPicPr>
              <a:picLocks noChangeArrowheads="1"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val="0"/>
                </a:ext>
              </a:extLst>
            </a:blip>
            <a:srcRect b="16612"/>
            <a:stretch>
              <a:fillRect/>
            </a:stretch>
          </p:blipFill>
          <p:spPr bwMode="auto">
            <a:xfrm>
              <a:off x="2603" y="538"/>
              <a:ext cx="576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464" name="Group 95"/>
          <p:cNvGrpSpPr/>
          <p:nvPr/>
        </p:nvGrpSpPr>
        <p:grpSpPr>
          <a:xfrm>
            <a:off x="8297863" y="2033588"/>
            <a:ext cx="636587" cy="617537"/>
            <a:chOff x="2603" y="538"/>
            <a:chExt cx="804" cy="775"/>
          </a:xfrm>
        </p:grpSpPr>
        <p:sp>
          <p:nvSpPr>
            <p:cNvPr id="19465" name="Freeform 96"/>
            <p:cNvSpPr/>
            <p:nvPr/>
          </p:nvSpPr>
          <p:spPr bwMode="auto">
            <a:xfrm>
              <a:off x="2738" y="1023"/>
              <a:ext cx="669" cy="290"/>
            </a:xfrm>
            <a:custGeom>
              <a:gdLst>
                <a:gd fmla="*/ 492 w 669" name="T0"/>
                <a:gd fmla="*/ 0 h 290" name="T1"/>
                <a:gd fmla="*/ 195 w 669" name="T2"/>
                <a:gd fmla="*/ 78 h 290" name="T3"/>
                <a:gd fmla="*/ 245 w 669" name="T4"/>
                <a:gd fmla="*/ 148 h 290" name="T5"/>
                <a:gd fmla="*/ 5 w 669" name="T6"/>
                <a:gd fmla="*/ 261 h 290" name="T7"/>
                <a:gd fmla="*/ 48 w 669" name="T8"/>
                <a:gd fmla="*/ 272 h 290" name="T9"/>
                <a:gd fmla="*/ 294 w 669" name="T10"/>
                <a:gd fmla="*/ 154 h 290" name="T11"/>
                <a:gd fmla="*/ 327 w 669" name="T12"/>
                <a:gd fmla="*/ 155 h 290" name="T13"/>
                <a:gd fmla="*/ 624 w 669" name="T14"/>
                <a:gd fmla="*/ 78 h 290" name="T15"/>
                <a:gd fmla="*/ 492 w 669" name="T16"/>
                <a:gd fmla="*/ 0 h 290" name="T17"/>
                <a:gd fmla="*/ 0 60000 65536" name="T18"/>
                <a:gd fmla="*/ 0 60000 65536" name="T19"/>
                <a:gd fmla="*/ 0 60000 65536" name="T20"/>
                <a:gd fmla="*/ 0 60000 65536" name="T21"/>
                <a:gd fmla="*/ 0 60000 65536" name="T22"/>
                <a:gd fmla="*/ 0 60000 65536" name="T23"/>
                <a:gd fmla="*/ 0 60000 65536" name="T24"/>
                <a:gd fmla="*/ 0 60000 65536" name="T25"/>
                <a:gd fmla="*/ 0 60000 65536" name="T26"/>
                <a:gd fmla="*/ 0 w 669" name="T27"/>
                <a:gd fmla="*/ 0 h 290" name="T28"/>
                <a:gd fmla="*/ 669 w 669" name="T29"/>
                <a:gd fmla="*/ 290 h 290" name="T30"/>
              </a:gdLst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b="T30" l="T27" r="T29" t="T28"/>
              <a:pathLst>
                <a:path h="290" w="669">
                  <a:moveTo>
                    <a:pt x="492" y="0"/>
                  </a:moveTo>
                  <a:cubicBezTo>
                    <a:pt x="373" y="0"/>
                    <a:pt x="240" y="35"/>
                    <a:pt x="195" y="78"/>
                  </a:cubicBezTo>
                  <a:cubicBezTo>
                    <a:pt x="162" y="109"/>
                    <a:pt x="184" y="136"/>
                    <a:pt x="245" y="148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9" y="284"/>
                    <a:pt x="0" y="290"/>
                    <a:pt x="48" y="272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304" y="155"/>
                    <a:pt x="315" y="155"/>
                    <a:pt x="327" y="155"/>
                  </a:cubicBezTo>
                  <a:cubicBezTo>
                    <a:pt x="445" y="155"/>
                    <a:pt x="578" y="120"/>
                    <a:pt x="624" y="78"/>
                  </a:cubicBezTo>
                  <a:cubicBezTo>
                    <a:pt x="669" y="35"/>
                    <a:pt x="610" y="0"/>
                    <a:pt x="492" y="0"/>
                  </a:cubicBezTo>
                  <a:close/>
                </a:path>
              </a:pathLst>
            </a:custGeom>
            <a:solidFill>
              <a:schemeClr val="tx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altLang="en-US" lang="zh-CN"/>
            </a:p>
          </p:txBody>
        </p:sp>
        <p:pic>
          <p:nvPicPr>
            <p:cNvPr descr="rot" id="19466" name="Picture 97"/>
            <p:cNvPicPr>
              <a:picLocks noChangeArrowheads="1"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val="0"/>
                </a:ext>
              </a:extLst>
            </a:blip>
            <a:srcRect b="16612"/>
            <a:stretch>
              <a:fillRect/>
            </a:stretch>
          </p:blipFill>
          <p:spPr bwMode="auto">
            <a:xfrm>
              <a:off x="2603" y="538"/>
              <a:ext cx="576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/>
  <p:timing/>
</p:sld>
</file>

<file path=ppt/slides/slide4.xml><?xml version="1.0" encoding="utf-8"?>
<p:sld xmlns:a="http://schemas.openxmlformats.org/drawingml/2006/main" xmlns:a14="http://schemas.microsoft.com/office/drawing/2010/main" xmlns:m="http://schemas.openxmlformats.org/officeDocument/2006/math" xmlns:mc="http://schemas.openxmlformats.org/markup-compatibility/2006" xmlns:p="http://schemas.openxmlformats.org/presentationml/2006/main" xmlns:p14="http://schemas.microsoft.com/office/powerpoint/2010/main" xmlns:p15="http://schemas.microsoft.com/office/powerpoint/2012/main" xmlns:p159="http://schemas.microsoft.com/office/powerpoint/2015/09/main" xmlns:r="http://schemas.openxmlformats.org/officeDocument/2006/relationships" xmlns:w="http://schemas.openxmlformats.org/wordprocessingml/2006/main" xmlns:wp="http://schemas.openxmlformats.org/drawingml/2006/wordprocessingDrawing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1506" name="Rectangle 4"/>
          <p:cNvSpPr>
            <a:spLocks noChangeArrowheads="1"/>
          </p:cNvSpPr>
          <p:nvPr/>
        </p:nvSpPr>
        <p:spPr bwMode="gray">
          <a:xfrm>
            <a:off x="5049838" y="4775200"/>
            <a:ext cx="3198812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36000" lIns="108000" rIns="72000" tIns="36000"/>
          <a:lstStyle>
            <a:lvl1pPr>
              <a:spcBef>
                <a:spcPct val="20000"/>
              </a:spcBef>
              <a:buFont charset="2" panose="05000000000000000000" pitchFamily="2" typeface="Wingdings"/>
              <a:buChar char="§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1pPr>
            <a:lvl2pPr indent="-285750" marL="7429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2pPr>
            <a:lvl3pPr indent="-228600" marL="11430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3pPr>
            <a:lvl4pPr indent="-228600" marL="16002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4pPr>
            <a:lvl5pPr indent="-228600" marL="20574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5pPr>
            <a:lvl6pPr eaLnBrk="0" fontAlgn="base" hangingPunct="0" indent="-228600" marL="25146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6pPr>
            <a:lvl7pPr eaLnBrk="0" fontAlgn="base" hangingPunct="0" indent="-228600" marL="29718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7pPr>
            <a:lvl8pPr eaLnBrk="0" fontAlgn="base" hangingPunct="0" indent="-228600" marL="34290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8pPr>
            <a:lvl9pPr eaLnBrk="0" fontAlgn="base" hangingPunct="0" indent="-228600" marL="38862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9pPr>
          </a:lstStyle>
          <a:p>
            <a:pPr eaLnBrk="1" hangingPunct="1">
              <a:lnSpc>
                <a:spcPct val="90000"/>
              </a:lnSpc>
              <a:buFontTx/>
              <a:buNone/>
            </a:pPr>
            <a:r>
              <a:rPr altLang="zh-CN" lang="en-US" sz="1400">
                <a:ea charset="-122" panose="02010600030101010101" pitchFamily="2" typeface="宋体"/>
              </a:rPr>
              <a:t>This text can be </a:t>
            </a:r>
            <a:br>
              <a:rPr altLang="zh-CN" lang="en-US" sz="1400">
                <a:ea charset="-122" panose="02010600030101010101" pitchFamily="2" typeface="宋体"/>
              </a:rPr>
            </a:br>
            <a:r>
              <a:rPr altLang="zh-CN" lang="en-US" sz="1400">
                <a:ea charset="-122" panose="02010600030101010101" pitchFamily="2" typeface="宋体"/>
              </a:rPr>
              <a:t>replaced with your text.</a:t>
            </a:r>
          </a:p>
        </p:txBody>
      </p:sp>
      <p:sp>
        <p:nvSpPr>
          <p:cNvPr id="21507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0" lIns="0" rIns="0" tIns="0"/>
          <a:lstStyle>
            <a:lvl1pPr defTabSz="801688">
              <a:spcBef>
                <a:spcPct val="20000"/>
              </a:spcBef>
              <a:buFont charset="2" panose="05000000000000000000" pitchFamily="2" typeface="Wingdings"/>
              <a:buChar char="§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1pPr>
            <a:lvl2pPr defTabSz="801688" indent="-285750" marL="7429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2pPr>
            <a:lvl3pPr defTabSz="801688" indent="-228600" marL="11430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3pPr>
            <a:lvl4pPr defTabSz="801688" indent="-228600" marL="16002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4pPr>
            <a:lvl5pPr defTabSz="801688" indent="-228600" marL="20574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5pPr>
            <a:lvl6pPr defTabSz="801688" eaLnBrk="0" fontAlgn="base" hangingPunct="0" indent="-228600" marL="25146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6pPr>
            <a:lvl7pPr defTabSz="801688" eaLnBrk="0" fontAlgn="base" hangingPunct="0" indent="-228600" marL="29718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7pPr>
            <a:lvl8pPr defTabSz="801688" eaLnBrk="0" fontAlgn="base" hangingPunct="0" indent="-228600" marL="34290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8pPr>
            <a:lvl9pPr defTabSz="801688" eaLnBrk="0" fontAlgn="base" hangingPunct="0" indent="-228600" marL="38862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altLang="zh-CN" lang="en-GB" sz="2000">
                <a:solidFill>
                  <a:schemeClr val="bg1"/>
                </a:solidFill>
                <a:ea charset="-122" panose="02010600030101010101" pitchFamily="2" typeface="宋体"/>
              </a:rPr>
              <a:t>Placeholder for your own sub headline</a:t>
            </a:r>
          </a:p>
        </p:txBody>
      </p:sp>
      <p:grpSp>
        <p:nvGrpSpPr>
          <p:cNvPr id="21508" name="Group 30"/>
          <p:cNvGrpSpPr/>
          <p:nvPr/>
        </p:nvGrpSpPr>
        <p:grpSpPr>
          <a:xfrm>
            <a:off x="971550" y="1555750"/>
            <a:ext cx="3314700" cy="2978150"/>
            <a:chOff x="612" y="980"/>
            <a:chExt cx="2088" cy="1876"/>
          </a:xfrm>
        </p:grpSpPr>
        <p:sp>
          <p:nvSpPr>
            <p:cNvPr id="21517" name="Rectangle 10"/>
            <p:cNvSpPr>
              <a:spLocks noChangeArrowheads="1"/>
            </p:cNvSpPr>
            <p:nvPr/>
          </p:nvSpPr>
          <p:spPr bwMode="gray">
            <a:xfrm>
              <a:off x="612" y="980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6625" name="Text Box 17"/>
            <p:cNvSpPr txBox="1">
              <a:spLocks noChangeArrowheads="1"/>
            </p:cNvSpPr>
            <p:nvPr/>
          </p:nvSpPr>
          <p:spPr bwMode="auto">
            <a:xfrm>
              <a:off x="685" y="1038"/>
              <a:ext cx="1944" cy="1444"/>
            </a:xfrm>
            <a:prstGeom prst="rect">
              <a:avLst/>
            </a:prstGeom>
            <a:blipFill dpi="0" rotWithShape="1">
              <a:blip r:embed="rId3"/>
              <a:stretch>
                <a:fillRect b="-970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21521" name="Rectangle 9"/>
            <p:cNvSpPr>
              <a:spLocks noChangeArrowheads="1"/>
            </p:cNvSpPr>
            <p:nvPr/>
          </p:nvSpPr>
          <p:spPr bwMode="gray">
            <a:xfrm>
              <a:off x="685" y="2543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b="1" lang="en-US" sz="1600">
                  <a:ea charset="-122" panose="02010600030101010101" pitchFamily="2" typeface="宋体"/>
                </a:rPr>
                <a:t>Placeholder</a:t>
              </a:r>
            </a:p>
          </p:txBody>
        </p:sp>
      </p:grpSp>
      <p:grpSp>
        <p:nvGrpSpPr>
          <p:cNvPr id="21509" name="Group 31"/>
          <p:cNvGrpSpPr/>
          <p:nvPr/>
        </p:nvGrpSpPr>
        <p:grpSpPr>
          <a:xfrm>
            <a:off x="4933950" y="1555750"/>
            <a:ext cx="3314700" cy="2978150"/>
            <a:chOff x="3108" y="980"/>
            <a:chExt cx="2088" cy="1876"/>
          </a:xfrm>
        </p:grpSpPr>
        <p:sp>
          <p:nvSpPr>
            <p:cNvPr id="21512" name="Rectangle 10"/>
            <p:cNvSpPr>
              <a:spLocks noChangeArrowheads="1"/>
            </p:cNvSpPr>
            <p:nvPr/>
          </p:nvSpPr>
          <p:spPr bwMode="gray">
            <a:xfrm>
              <a:off x="3108" y="980"/>
              <a:ext cx="2088" cy="1876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EAEAEA"/>
              </a:solidFill>
              <a:miter lim="800000"/>
            </a:ln>
            <a:effectLst>
              <a:outerShdw algn="ctr" dir="2700000" dist="53882" rotWithShape="0">
                <a:srgbClr val="4D4D4D">
                  <a:alpha val="50000"/>
                </a:srgbClr>
              </a:outerShdw>
            </a:effectLst>
          </p:spPr>
          <p:txBody>
            <a:bodyPr bIns="72000" lIns="108000" rIns="144000" tIns="108000"/>
            <a:lstStyle>
              <a:lvl1pPr indent="-190500" marL="190500"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</a:pPr>
              <a:endParaRPr altLang="zh-CN" lang="en-US">
                <a:ea charset="-122" panose="02010600030101010101" pitchFamily="2" typeface="宋体"/>
              </a:endParaRPr>
            </a:p>
          </p:txBody>
        </p:sp>
        <p:sp>
          <p:nvSpPr>
            <p:cNvPr id="196629" name="Text Box 21"/>
            <p:cNvSpPr txBox="1">
              <a:spLocks noChangeArrowheads="1"/>
            </p:cNvSpPr>
            <p:nvPr/>
          </p:nvSpPr>
          <p:spPr bwMode="auto">
            <a:xfrm>
              <a:off x="3181" y="1038"/>
              <a:ext cx="1944" cy="1444"/>
            </a:xfrm>
            <a:prstGeom prst="rect">
              <a:avLst/>
            </a:prstGeom>
            <a:blipFill dpi="0" rotWithShape="1">
              <a:blip r:embed="rId4"/>
              <a:stretch>
                <a:fillRect r="-30884"/>
              </a:stretch>
            </a:blipFill>
            <a:ln algn="ctr" w="19050">
              <a:solidFill>
                <a:srgbClr val="EAEAEA"/>
              </a:solidFill>
              <a:miter lim="800000"/>
            </a:ln>
            <a:effectLst/>
          </p:spPr>
          <p:txBody>
            <a:bodyPr anchor="ctr" wrap="none"/>
            <a:lstStyle>
              <a:lvl1pPr eaLnBrk="0" hangingPunct="0" indent="-190500" marL="1905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1pPr>
              <a:lvl2pPr eaLnBrk="0" hangingPunct="0" indent="-285750" marL="742950">
                <a:defRPr>
                  <a:solidFill>
                    <a:schemeClr val="tx1"/>
                  </a:solidFill>
                  <a:latin typeface="Arial"/>
                  <a:cs typeface="Arial"/>
                </a:defRPr>
              </a:lvl2pPr>
              <a:lvl3pPr eaLnBrk="0" hangingPunct="0" indent="-228600" marL="11430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3pPr>
              <a:lvl4pPr eaLnBrk="0" hangingPunct="0" indent="-228600" marL="16002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4pPr>
              <a:lvl5pPr eaLnBrk="0" hangingPunct="0" indent="-228600" marL="2057400">
                <a:defRPr>
                  <a:solidFill>
                    <a:schemeClr val="tx1"/>
                  </a:solidFill>
                  <a:latin typeface="Arial"/>
                  <a:cs typeface="Arial"/>
                </a:defRPr>
              </a:lvl5pPr>
              <a:lvl6pPr eaLnBrk="0" fontAlgn="base" hangingPunct="0" indent="-228600" marL="25146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6pPr>
              <a:lvl7pPr eaLnBrk="0" fontAlgn="base" hangingPunct="0" indent="-228600" marL="29718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7pPr>
              <a:lvl8pPr eaLnBrk="0" fontAlgn="base" hangingPunct="0" indent="-228600" marL="34290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8pPr>
              <a:lvl9pPr eaLnBrk="0" fontAlgn="base" hangingPunct="0" indent="-228600" marL="388620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/>
                  <a:cs typeface="Arial"/>
                </a:defRPr>
              </a:lvl9pPr>
            </a:lstStyle>
            <a:p>
              <a:pPr eaLnBrk="1" hangingPunct="1">
                <a:spcBef>
                  <a:spcPct val="40000"/>
                </a:spcBef>
                <a:buClr>
                  <a:schemeClr val="accent1"/>
                </a:buClr>
                <a:buFont charset="2" panose="05000000000000000000" pitchFamily="2" typeface="Wingdings"/>
                <a:buChar char="§"/>
                <a:defRPr/>
              </a:pPr>
              <a:endParaRPr altLang="zh-CN" lang="en-US" smtClean="0">
                <a:ea typeface="宋体"/>
              </a:endParaRPr>
            </a:p>
          </p:txBody>
        </p:sp>
        <p:sp>
          <p:nvSpPr>
            <p:cNvPr id="21516" name="Rectangle 9"/>
            <p:cNvSpPr>
              <a:spLocks noChangeArrowheads="1"/>
            </p:cNvSpPr>
            <p:nvPr/>
          </p:nvSpPr>
          <p:spPr bwMode="gray">
            <a:xfrm>
              <a:off x="3181" y="2543"/>
              <a:ext cx="1944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>
                  <a:solidFill>
                    <a:srgbClr val="FFFFFF"/>
                  </a:solidFill>
                </a14:hiddenFill>
              </a:ext>
              <a:ext uri="{91240B29-F687-4F45-9708-019B960494DF}">
                <a14:hiddenLine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bIns="36000" lIns="108000" rIns="72000" tIns="36000"/>
            <a:lstStyle>
              <a:lvl1pPr>
                <a:spcBef>
                  <a:spcPct val="20000"/>
                </a:spcBef>
                <a:buFont charset="2" panose="05000000000000000000" pitchFamily="2" typeface="Wingdings"/>
                <a:buChar char="§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1pPr>
              <a:lvl2pPr indent="-285750" marL="74295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2pPr>
              <a:lvl3pPr indent="-228600" marL="114300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3pPr>
              <a:lvl4pPr indent="-228600" marL="160020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4pPr>
              <a:lvl5pPr indent="-228600" marL="205740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5pPr>
              <a:lvl6pPr eaLnBrk="0" fontAlgn="base" hangingPunct="0" indent="-228600" marL="25146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6pPr>
              <a:lvl7pPr eaLnBrk="0" fontAlgn="base" hangingPunct="0" indent="-228600" marL="29718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7pPr>
              <a:lvl8pPr eaLnBrk="0" fontAlgn="base" hangingPunct="0" indent="-228600" marL="34290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8pPr>
              <a:lvl9pPr eaLnBrk="0" fontAlgn="base" hangingPunct="0" indent="-228600" marL="388620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charset="0" panose="020b0604020202020204" pitchFamily="34" typeface="Arial"/>
                  <a:cs charset="0" panose="020b0604020202020204" pitchFamily="34" typeface="Arial"/>
                </a:defRPr>
              </a:lvl9pPr>
            </a:lstStyle>
            <a:p>
              <a:pPr eaLnBrk="1" hangingPunct="1">
                <a:lnSpc>
                  <a:spcPct val="90000"/>
                </a:lnSpc>
                <a:buFontTx/>
                <a:buNone/>
              </a:pPr>
              <a:r>
                <a:rPr altLang="zh-CN" b="1" lang="en-US" sz="1600">
                  <a:ea charset="-122" panose="02010600030101010101" pitchFamily="2" typeface="宋体"/>
                </a:rPr>
                <a:t>Placeholder Text</a:t>
              </a:r>
            </a:p>
          </p:txBody>
        </p:sp>
      </p:grpSp>
      <p:sp>
        <p:nvSpPr>
          <p:cNvPr id="21510" name="Rectangle 4"/>
          <p:cNvSpPr>
            <a:spLocks noChangeArrowheads="1"/>
          </p:cNvSpPr>
          <p:nvPr/>
        </p:nvSpPr>
        <p:spPr bwMode="gray">
          <a:xfrm>
            <a:off x="1087438" y="4775200"/>
            <a:ext cx="3198812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>
                <a:solidFill>
                  <a:srgbClr val="FFFFFF"/>
                </a:solidFill>
              </a14:hiddenFill>
            </a:ext>
            <a:ext uri="{91240B29-F687-4F45-9708-019B960494DF}">
              <a14:hiddenLine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36000" lIns="108000" rIns="72000" tIns="36000"/>
          <a:lstStyle>
            <a:lvl1pPr>
              <a:spcBef>
                <a:spcPct val="20000"/>
              </a:spcBef>
              <a:buFont charset="2" panose="05000000000000000000" pitchFamily="2" typeface="Wingdings"/>
              <a:buChar char="§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1pPr>
            <a:lvl2pPr indent="-285750" marL="7429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2pPr>
            <a:lvl3pPr indent="-228600" marL="11430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3pPr>
            <a:lvl4pPr indent="-228600" marL="16002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4pPr>
            <a:lvl5pPr indent="-228600" marL="20574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5pPr>
            <a:lvl6pPr eaLnBrk="0" fontAlgn="base" hangingPunct="0" indent="-228600" marL="25146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6pPr>
            <a:lvl7pPr eaLnBrk="0" fontAlgn="base" hangingPunct="0" indent="-228600" marL="29718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7pPr>
            <a:lvl8pPr eaLnBrk="0" fontAlgn="base" hangingPunct="0" indent="-228600" marL="34290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8pPr>
            <a:lvl9pPr eaLnBrk="0" fontAlgn="base" hangingPunct="0" indent="-228600" marL="388620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charset="0" panose="020b0604020202020204" pitchFamily="34" typeface="Arial"/>
                <a:cs charset="0" panose="020b0604020202020204" pitchFamily="34" typeface="Arial"/>
              </a:defRPr>
            </a:lvl9pPr>
          </a:lstStyle>
          <a:p>
            <a:pPr eaLnBrk="1" hangingPunct="1">
              <a:lnSpc>
                <a:spcPct val="90000"/>
              </a:lnSpc>
              <a:buFontTx/>
              <a:buNone/>
            </a:pPr>
            <a:r>
              <a:rPr altLang="zh-CN" lang="en-US" sz="1400">
                <a:ea charset="-122" panose="02010600030101010101" pitchFamily="2" typeface="宋体"/>
              </a:rPr>
              <a:t>This text can be </a:t>
            </a:r>
            <a:br>
              <a:rPr altLang="zh-CN" lang="en-US" sz="1400">
                <a:ea charset="-122" panose="02010600030101010101" pitchFamily="2" typeface="宋体"/>
              </a:rPr>
            </a:br>
            <a:r>
              <a:rPr altLang="zh-CN" lang="en-US" sz="1400">
                <a:ea charset="-122" panose="02010600030101010101" pitchFamily="2" typeface="宋体"/>
              </a:rPr>
              <a:t>replaced with your text.</a:t>
            </a:r>
          </a:p>
        </p:txBody>
      </p:sp>
      <p:sp>
        <p:nvSpPr>
          <p:cNvPr id="21511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lang="zh-CN" smtClean="0">
              <a:ea charset="-122" panose="02010600030101010101" pitchFamily="2" typeface="宋体"/>
            </a:endParaRPr>
          </a:p>
        </p:txBody>
      </p:sp>
    </p:spTree>
  </p:cSld>
  <p:clrMapOvr>
    <a:masterClrMapping/>
  </p:clrMapOvr>
  <p:transition/>
  <p:timing/>
</p:sld>
</file>

<file path=ppt/slides/slide5.xml><?xml version="1.0" encoding="utf-8"?>
<p:sld xmlns:a="http://schemas.openxmlformats.org/drawingml/2006/main" xmlns:a14="http://schemas.microsoft.com/office/drawing/2010/main" xmlns:m="http://schemas.openxmlformats.org/officeDocument/2006/math" xmlns:mc="http://schemas.openxmlformats.org/markup-compatibility/2006" xmlns:p="http://schemas.openxmlformats.org/presentationml/2006/main" xmlns:p14="http://schemas.microsoft.com/office/powerpoint/2010/main" xmlns:p15="http://schemas.microsoft.com/office/powerpoint/2012/main" xmlns:p159="http://schemas.microsoft.com/office/powerpoint/2015/09/main" xmlns:r="http://schemas.openxmlformats.org/officeDocument/2006/relationships" xmlns:w="http://schemas.openxmlformats.org/wordprocessingml/2006/main" xmlns:wp="http://schemas.openxmlformats.org/drawingml/2006/wordprocessingDrawing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3" name="任意多边形 2"/>
          <p:cNvSpPr/>
          <p:nvPr/>
        </p:nvSpPr>
        <p:spPr>
          <a:xfrm>
            <a:off x="1985963" y="2943225"/>
            <a:ext cx="596900" cy="657225"/>
          </a:xfrm>
          <a:custGeom>
            <a:gdLst>
              <a:gd fmla="*/ 0 w 576448" name="connsiteX0"/>
              <a:gd fmla="*/ 0 h 576263" name="connsiteY0"/>
              <a:gd fmla="*/ 575933 w 576448" name="connsiteX1"/>
              <a:gd fmla="*/ 576263 h 576263" name="connsiteY1"/>
              <a:gd fmla="*/ 576263 w 576448" name="connsiteX2"/>
              <a:gd fmla="*/ 0 h 576263" name="connsiteY2"/>
              <a:gd fmla="*/ 0 w 576448" name="connsiteX3"/>
              <a:gd fmla="*/ 0 h 576263" name="connsiteY3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b="b" l="l" r="r" t="t"/>
            <a:pathLst>
              <a:path h="576263" w="576448">
                <a:moveTo>
                  <a:pt x="0" y="0"/>
                </a:moveTo>
                <a:lnTo>
                  <a:pt x="575933" y="576263"/>
                </a:lnTo>
                <a:cubicBezTo>
                  <a:pt x="577576" y="384175"/>
                  <a:pt x="574620" y="192088"/>
                  <a:pt x="576263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6194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altLang="en-US" lang="zh-CN">
              <a:solidFill>
                <a:prstClr val="white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2582863" y="2949575"/>
            <a:ext cx="6561137" cy="6572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180000" rIns="180000" tIns="0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altLang="zh-CN" lang="en-US" sz="2800">
                <a:solidFill>
                  <a:prstClr val="white"/>
                </a:solidFill>
                <a:effectLst>
                  <a:outerShdw algn="tl" blurRad="38100" dir="2700000" dist="38100">
                    <a:srgbClr val="000000">
                      <a:alpha val="43137"/>
                    </a:srgbClr>
                  </a:outerShdw>
                </a:effectLst>
                <a:latin charset="-122" panose="020b0503020204020204" pitchFamily="34" typeface="微软雅黑"/>
                <a:ea charset="-122" panose="020b0503020204020204" pitchFamily="34" typeface="微软雅黑"/>
                <a:cs charset="-128" panose="020b0604030504040204" pitchFamily="34" typeface="Meiryo"/>
              </a:rPr>
              <a:t>www.youyedoc.com  </a:t>
            </a:r>
          </a:p>
        </p:txBody>
      </p:sp>
      <p:sp>
        <p:nvSpPr>
          <p:cNvPr id="7" name="矩形 6"/>
          <p:cNvSpPr/>
          <p:nvPr/>
        </p:nvSpPr>
        <p:spPr>
          <a:xfrm>
            <a:off x="0" y="2182813"/>
            <a:ext cx="6900863" cy="7747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tIns="0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altLang="en-US" lang="zh-CN" spc="200" sz="3200">
                <a:solidFill>
                  <a:srgbClr val="FFFFFF"/>
                </a:solidFill>
                <a:effectLst>
                  <a:outerShdw algn="l" blurRad="50800" dist="38100" rotWithShape="0">
                    <a:prstClr val="black">
                      <a:alpha val="40000"/>
                    </a:prstClr>
                  </a:outerShdw>
                </a:effectLst>
                <a:latin charset="-122" panose="020b0503020204020204" pitchFamily="34" typeface="微软雅黑"/>
                <a:ea charset="-122" panose="020b0503020204020204" pitchFamily="34" typeface="微软雅黑"/>
              </a:rPr>
              <a:t>    更多精品PPT资源尽在—优页PPT！</a:t>
            </a:r>
          </a:p>
        </p:txBody>
      </p:sp>
      <p:sp>
        <p:nvSpPr>
          <p:cNvPr id="6" name="直角三角形 5"/>
          <p:cNvSpPr/>
          <p:nvPr/>
        </p:nvSpPr>
        <p:spPr>
          <a:xfrm>
            <a:off x="6900863" y="2179638"/>
            <a:ext cx="766762" cy="779462"/>
          </a:xfrm>
          <a:prstGeom prst="rtTriangle">
            <a:avLst/>
          </a:prstGeom>
          <a:solidFill>
            <a:srgbClr val="007C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altLang="en-US" lang="zh-CN">
              <a:solidFill>
                <a:prstClr val="white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316038" y="3921125"/>
            <a:ext cx="6472237" cy="1692275"/>
          </a:xfrm>
          <a:prstGeom prst="rect">
            <a:avLst/>
          </a:prstGeom>
          <a:noFill/>
          <a:ln algn="ctr" cap="flat" cmpd="sng" w="25400">
            <a:noFill/>
            <a:prstDash val="solid"/>
          </a:ln>
          <a:effectLst/>
        </p:spPr>
        <p:txBody>
          <a:bodyPr anchor="ctr"/>
          <a:lstStyle/>
          <a:p>
            <a:pPr eaLnBrk="1" fontAlgn="auto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altLang="zh-CN" kern="0" lang="en-US" sz="1100">
                <a:solidFill>
                  <a:srgbClr val="EEECE1">
                    <a:lumMod val="25000"/>
                  </a:srgbClr>
                </a:solidFill>
                <a:latin charset="-122" panose="020b0503020204020204" pitchFamily="34" typeface="微软雅黑"/>
                <a:ea charset="-122" panose="020b0503020204020204" pitchFamily="34" typeface="微软雅黑"/>
                <a:cs typeface="+mn-cs"/>
              </a:rPr>
              <a:t>PPT模板下载：www.youyedoc.com/moban/              节日PPT模板：www.youyedoc.com/jieri/</a:t>
            </a:r>
          </a:p>
          <a:p>
            <a:pPr eaLnBrk="1" fontAlgn="auto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altLang="zh-CN" kern="0" lang="en-US" sz="1100">
                <a:solidFill>
                  <a:srgbClr val="EEECE1">
                    <a:lumMod val="25000"/>
                  </a:srgbClr>
                </a:solidFill>
                <a:latin charset="-122" panose="020b0503020204020204" pitchFamily="34" typeface="微软雅黑"/>
                <a:ea charset="-122" panose="020b0503020204020204" pitchFamily="34" typeface="微软雅黑"/>
                <a:cs typeface="+mn-cs"/>
              </a:rPr>
              <a:t>PPT背景图片：www.youyedoc.com/beijing/               PPT图表下载：www.youyedoc.com/tubiao/</a:t>
            </a:r>
          </a:p>
          <a:p>
            <a:pPr eaLnBrk="1" fontAlgn="auto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altLang="zh-CN" kern="0" lang="en-US" sz="1100">
                <a:solidFill>
                  <a:srgbClr val="EEECE1">
                    <a:lumMod val="25000"/>
                  </a:srgbClr>
                </a:solidFill>
                <a:latin charset="-122" panose="020b0503020204020204" pitchFamily="34" typeface="微软雅黑"/>
                <a:ea charset="-122" panose="020b0503020204020204" pitchFamily="34" typeface="微软雅黑"/>
                <a:cs typeface="+mn-cs"/>
              </a:rPr>
              <a:t>PPT素材下载： www.youyedoc.com/sucai/                 PPT教程下载：www.youyedoc.com/jiaocheng/      </a:t>
            </a:r>
          </a:p>
        </p:txBody>
      </p:sp>
    </p:spTree>
  </p:cSld>
  <p:clrMapOvr>
    <a:masterClrMapping/>
  </p:clrMapOvr>
  <p:transition/>
  <p:timing/>
</p:sld>
</file>

<file path=ppt/tags/tag1.xml><?xml version="1.0" encoding="utf-8"?>
<p:tagLst xmlns:p="http://schemas.openxmlformats.org/presentationml/2006/main">
  <p:tag name="ARTICULATE_PROJECT_OPEN" val="0"/>
  <p:tag name="AS_NET" val="4.0.30319.42000"/>
  <p:tag name="AS_OS" val="Microsoft Windows NT 6.2.9200.0"/>
  <p:tag name="AS_RELEASE_DATE" val="2020.04.14"/>
  <p:tag name="AS_TITLE" val="Aspose.Slides for .NET 4.0 Client Profile"/>
  <p:tag name="AS_VERSION" val="20.4"/>
  <p:tag name="EE4P_STYLE" val="Standard"/>
</p:tagLst>
</file>

<file path=ppt/theme/theme1.xml><?xml version="1.0" encoding="utf-8"?>
<a:theme xmlns:r="http://schemas.openxmlformats.org/officeDocument/2006/relationships" xmlns:a="http://schemas.openxmlformats.org/drawingml/2006/main" name="">
  <a:themeElements>
    <a:clrScheme name="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Standarddesig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r="http://schemas.openxmlformats.org/officeDocument/2006/relationships" xmlns:a="http://schemas.openxmlformats.org/drawingml/2006/main" name="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id="{62F939B6-93AF-4DB8-9C6B-D6C7DFDC589F}" name="Office Theme" vid="{4A3C46E8-61CC-4603-A589-7422A47A8E4A}"/>
    </a:ext>
  </a:extLst>
</a:theme>
</file>

<file path=ppt/theme/theme3.xml><?xml version="1.0" encoding="utf-8"?>
<a:theme xmlns:r="http://schemas.openxmlformats.org/officeDocument/2006/relationships"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 panose="020f05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docProps/app.xml><?xml version="1.0" encoding="utf-8"?>
<Properties xmlns:vt="http://schemas.openxmlformats.org/officeDocument/2006/docPropsVTypes" xmlns="http://schemas.openxmlformats.org/officeDocument/2006/extended-properties">
  <Company/>
  <PresentationFormat>On-screen Show (4:3)</PresentationFormat>
  <Paragraphs>20</Paragraphs>
  <Slides>5</Slides>
  <Notes>5</Notes>
  <TotalTime>0</TotalTime>
  <HiddenSlides>0</HiddenSlides>
  <MMClips>0</MMClips>
  <ScaleCrop>0</ScaleCrop>
  <HeadingPairs>
    <vt:vector baseType="variant" size="6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baseType="lpstr" size="13">
      <vt:lpstr>Arial</vt:lpstr>
      <vt:lpstr>Wingdings</vt:lpstr>
      <vt:lpstr>Calibri</vt:lpstr>
      <vt:lpstr>Calibri Light</vt:lpstr>
      <vt:lpstr>宋体</vt:lpstr>
      <vt:lpstr>微软雅黑</vt:lpstr>
      <vt:lpstr>Meiryo</vt:lpstr>
      <vt:lpstr>Standarddesig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0</LinksUpToDate>
  <SharedDoc>0</SharedDoc>
  <HyperlinksChanged>0</HyperlinksChanged>
  <Application>Aspose.Slides for .NET</Application>
  <AppVersion>20.04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>
  <dcterms:created xsi:type="dcterms:W3CDTF">2021-08-22T12:04:12Z</dcterms:created>
  <cp:lastPrinted>2021-08-22T12:04:12Z</cp:lastPrinted>
  <dcterms:modified xsi:type="dcterms:W3CDTF">2021-08-22T05:51:27Z</dcterms:modified>
  <cp:revision>1</cp:revision>
</cp:coreProperties>
</file>